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5" r:id="rId4"/>
    <p:sldMasterId id="2147483787" r:id="rId5"/>
    <p:sldMasterId id="2147483758" r:id="rId6"/>
    <p:sldMasterId id="2147483750" r:id="rId7"/>
    <p:sldMasterId id="2147483774" r:id="rId8"/>
  </p:sldMasterIdLst>
  <p:notesMasterIdLst>
    <p:notesMasterId r:id="rId14"/>
  </p:notesMasterIdLst>
  <p:handoutMasterIdLst>
    <p:handoutMasterId r:id="rId15"/>
  </p:handoutMasterIdLst>
  <p:sldIdLst>
    <p:sldId id="448" r:id="rId9"/>
    <p:sldId id="453" r:id="rId10"/>
    <p:sldId id="478" r:id="rId11"/>
    <p:sldId id="483" r:id="rId12"/>
    <p:sldId id="468" r:id="rId13"/>
  </p:sldIdLst>
  <p:sldSz cx="12190413" cy="6859588"/>
  <p:notesSz cx="9942513" cy="6810375"/>
  <p:defaultTextStyle>
    <a:defPPr>
      <a:defRPr lang="en-US"/>
    </a:defPPr>
    <a:lvl1pPr marL="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20" userDrawn="1">
          <p15:clr>
            <a:srgbClr val="A4A3A4"/>
          </p15:clr>
        </p15:guide>
        <p15:guide id="3" orient="horz" pos="2455" userDrawn="1">
          <p15:clr>
            <a:srgbClr val="A4A3A4"/>
          </p15:clr>
        </p15:guide>
        <p15:guide id="4" orient="horz" pos="686" userDrawn="1">
          <p15:clr>
            <a:srgbClr val="A4A3A4"/>
          </p15:clr>
        </p15:guide>
        <p15:guide id="6" pos="3953" userDrawn="1">
          <p15:clr>
            <a:srgbClr val="A4A3A4"/>
          </p15:clr>
        </p15:guide>
        <p15:guide id="7" pos="301" userDrawn="1">
          <p15:clr>
            <a:srgbClr val="A4A3A4"/>
          </p15:clr>
        </p15:guide>
        <p15:guide id="8" pos="7559" userDrawn="1">
          <p15:clr>
            <a:srgbClr val="A4A3A4"/>
          </p15:clr>
        </p15:guide>
        <p15:guide id="11" orient="horz" pos="1888" userDrawn="1">
          <p15:clr>
            <a:srgbClr val="A4A3A4"/>
          </p15:clr>
        </p15:guide>
        <p15:guide id="12" orient="horz" pos="3635" userDrawn="1">
          <p15:clr>
            <a:srgbClr val="A4A3A4"/>
          </p15:clr>
        </p15:guide>
        <p15:guide id="13" pos="3613" userDrawn="1">
          <p15:clr>
            <a:srgbClr val="A4A3A4"/>
          </p15:clr>
        </p15:guide>
        <p15:guide id="14" pos="4066" userDrawn="1">
          <p15:clr>
            <a:srgbClr val="A4A3A4"/>
          </p15:clr>
        </p15:guide>
        <p15:guide id="15" orient="horz" pos="1435" userDrawn="1">
          <p15:clr>
            <a:srgbClr val="A4A3A4"/>
          </p15:clr>
        </p15:guide>
        <p15:guide id="16" pos="3000" userDrawn="1">
          <p15:clr>
            <a:srgbClr val="A4A3A4"/>
          </p15:clr>
        </p15:guide>
        <p15:guide id="17" pos="4588" userDrawn="1">
          <p15:clr>
            <a:srgbClr val="A4A3A4"/>
          </p15:clr>
        </p15:guide>
        <p15:guide id="18" orient="horz" pos="3113" userDrawn="1">
          <p15:clr>
            <a:srgbClr val="A4A3A4"/>
          </p15:clr>
        </p15:guide>
        <p15:guide id="19" orient="horz" pos="1299" userDrawn="1">
          <p15:clr>
            <a:srgbClr val="A4A3A4"/>
          </p15:clr>
        </p15:guide>
        <p15:guide id="20" pos="551" userDrawn="1">
          <p15:clr>
            <a:srgbClr val="A4A3A4"/>
          </p15:clr>
        </p15:guide>
        <p15:guide id="21" pos="846" userDrawn="1">
          <p15:clr>
            <a:srgbClr val="A4A3A4"/>
          </p15:clr>
        </p15:guide>
        <p15:guide id="22" orient="horz" pos="1004" userDrawn="1">
          <p15:clr>
            <a:srgbClr val="A4A3A4"/>
          </p15:clr>
        </p15:guide>
        <p15:guide id="23" orient="horz" pos="1104" userDrawn="1">
          <p15:clr>
            <a:srgbClr val="A4A3A4"/>
          </p15:clr>
        </p15:guide>
        <p15:guide id="24" orient="horz" pos="800" userDrawn="1">
          <p15:clr>
            <a:srgbClr val="A4A3A4"/>
          </p15:clr>
        </p15:guide>
        <p15:guide id="25" orient="horz" pos="2478" userDrawn="1">
          <p15:clr>
            <a:srgbClr val="A4A3A4"/>
          </p15:clr>
        </p15:guide>
        <p15:guide id="26" pos="732" userDrawn="1">
          <p15:clr>
            <a:srgbClr val="A4A3A4"/>
          </p15:clr>
        </p15:guide>
        <p15:guide id="27" orient="horz" pos="61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OMA, Julie (DGS/MICOM)" initials="SJ(" lastIdx="1" clrIdx="0">
    <p:extLst/>
  </p:cmAuthor>
  <p:cmAuthor id="2" name="DUBOIS, Hélène (DGS/SG/DAD-BSIIP)" initials="DH(" lastIdx="6" clrIdx="1">
    <p:extLst>
      <p:ext uri="{19B8F6BF-5375-455C-9EA6-DF929625EA0E}">
        <p15:presenceInfo xmlns:p15="http://schemas.microsoft.com/office/powerpoint/2012/main" userId="S-1-5-21-27022435-3177379373-3347635678-85551" providerId="AD"/>
      </p:ext>
    </p:extLst>
  </p:cmAuthor>
  <p:cmAuthor id="3" name="Marie ALLOUARD" initials="MA" lastIdx="1" clrIdx="2">
    <p:extLst>
      <p:ext uri="{19B8F6BF-5375-455C-9EA6-DF929625EA0E}">
        <p15:presenceInfo xmlns:p15="http://schemas.microsoft.com/office/powerpoint/2012/main" userId="S-1-5-21-3641078771-3653456904-245653651-1466449" providerId="AD"/>
      </p:ext>
    </p:extLst>
  </p:cmAuthor>
  <p:cmAuthor id="4" name="ALLOUARD, Marie (DGS/SG/DAD-BSIIP)" initials="AM(" lastIdx="1" clrIdx="3">
    <p:extLst>
      <p:ext uri="{19B8F6BF-5375-455C-9EA6-DF929625EA0E}">
        <p15:presenceInfo xmlns:p15="http://schemas.microsoft.com/office/powerpoint/2012/main" userId="S-1-5-21-27022435-3177379373-3347635678-93719" providerId="AD"/>
      </p:ext>
    </p:extLst>
  </p:cmAuthor>
  <p:cmAuthor id="5" name="SAKHO, Moussa (DGS/SG/DAD)" initials="SM(" lastIdx="1" clrIdx="4">
    <p:extLst>
      <p:ext uri="{19B8F6BF-5375-455C-9EA6-DF929625EA0E}">
        <p15:presenceInfo xmlns:p15="http://schemas.microsoft.com/office/powerpoint/2012/main" userId="S-1-5-21-27022435-3177379373-3347635678-11819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7B7B"/>
    <a:srgbClr val="1F497D"/>
    <a:srgbClr val="2E72B0"/>
    <a:srgbClr val="C00000"/>
    <a:srgbClr val="DCE6F2"/>
    <a:srgbClr val="8890BB"/>
    <a:srgbClr val="8064A2"/>
    <a:srgbClr val="F79443"/>
    <a:srgbClr val="93CDDD"/>
    <a:srgbClr val="D8D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Style à thème 1 - Accentuation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Style à thème 1 - Accentuation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4660" autoAdjust="0"/>
    <p:restoredTop sz="94343" autoAdjust="0"/>
  </p:normalViewPr>
  <p:slideViewPr>
    <p:cSldViewPr snapToGrid="0">
      <p:cViewPr varScale="1">
        <p:scale>
          <a:sx n="95" d="100"/>
          <a:sy n="95" d="100"/>
        </p:scale>
        <p:origin x="96" y="444"/>
      </p:cViewPr>
      <p:guideLst>
        <p:guide orient="horz" pos="4020"/>
        <p:guide orient="horz" pos="2455"/>
        <p:guide orient="horz" pos="686"/>
        <p:guide pos="3953"/>
        <p:guide pos="301"/>
        <p:guide pos="7559"/>
        <p:guide orient="horz" pos="1888"/>
        <p:guide orient="horz" pos="3635"/>
        <p:guide pos="3613"/>
        <p:guide pos="4066"/>
        <p:guide orient="horz" pos="1435"/>
        <p:guide pos="3000"/>
        <p:guide pos="4588"/>
        <p:guide orient="horz" pos="3113"/>
        <p:guide orient="horz" pos="1299"/>
        <p:guide pos="551"/>
        <p:guide pos="846"/>
        <p:guide orient="horz" pos="1004"/>
        <p:guide orient="horz" pos="1104"/>
        <p:guide orient="horz" pos="800"/>
        <p:guide orient="horz" pos="2478"/>
        <p:guide pos="732"/>
        <p:guide orient="horz" pos="61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2448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2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9506" cy="340901"/>
          </a:xfrm>
          <a:prstGeom prst="rect">
            <a:avLst/>
          </a:prstGeom>
        </p:spPr>
        <p:txBody>
          <a:bodyPr vert="horz" lIns="91595" tIns="45798" rIns="91595" bIns="4579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5630687" y="0"/>
            <a:ext cx="4309506" cy="340901"/>
          </a:xfrm>
          <a:prstGeom prst="rect">
            <a:avLst/>
          </a:prstGeom>
        </p:spPr>
        <p:txBody>
          <a:bodyPr vert="horz" lIns="91595" tIns="45798" rIns="91595" bIns="45798" rtlCol="0"/>
          <a:lstStyle>
            <a:lvl1pPr algn="r">
              <a:defRPr sz="1200"/>
            </a:lvl1pPr>
          </a:lstStyle>
          <a:p>
            <a:fld id="{07AEEAB5-2C3A-423F-8EE9-474FF60FD7E4}" type="datetimeFigureOut">
              <a:rPr lang="fr-FR" smtClean="0"/>
              <a:t>16/12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6469475"/>
            <a:ext cx="4309506" cy="340901"/>
          </a:xfrm>
          <a:prstGeom prst="rect">
            <a:avLst/>
          </a:prstGeom>
        </p:spPr>
        <p:txBody>
          <a:bodyPr vert="horz" lIns="91595" tIns="45798" rIns="91595" bIns="4579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5630687" y="6469475"/>
            <a:ext cx="4309506" cy="340901"/>
          </a:xfrm>
          <a:prstGeom prst="rect">
            <a:avLst/>
          </a:prstGeom>
        </p:spPr>
        <p:txBody>
          <a:bodyPr vert="horz" lIns="91595" tIns="45798" rIns="91595" bIns="45798" rtlCol="0" anchor="b"/>
          <a:lstStyle>
            <a:lvl1pPr algn="r">
              <a:defRPr sz="1200"/>
            </a:lvl1pPr>
          </a:lstStyle>
          <a:p>
            <a:fld id="{CD584776-D907-453B-8B38-591991522DB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202628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8422" cy="341701"/>
          </a:xfrm>
          <a:prstGeom prst="rect">
            <a:avLst/>
          </a:prstGeom>
        </p:spPr>
        <p:txBody>
          <a:bodyPr vert="horz" lIns="91595" tIns="45798" rIns="91595" bIns="4579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5631792" y="0"/>
            <a:ext cx="4308422" cy="341701"/>
          </a:xfrm>
          <a:prstGeom prst="rect">
            <a:avLst/>
          </a:prstGeom>
        </p:spPr>
        <p:txBody>
          <a:bodyPr vert="horz" lIns="91595" tIns="45798" rIns="91595" bIns="45798" rtlCol="0"/>
          <a:lstStyle>
            <a:lvl1pPr algn="r">
              <a:defRPr sz="1200"/>
            </a:lvl1pPr>
          </a:lstStyle>
          <a:p>
            <a:fld id="{4308C419-FCC7-46D0-925F-4D245798B981}" type="datetimeFigureOut">
              <a:rPr lang="fr-FR" smtClean="0"/>
              <a:t>16/12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2930525" y="852488"/>
            <a:ext cx="4081463" cy="22971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95" tIns="45798" rIns="91595" bIns="45798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994253" y="3277493"/>
            <a:ext cx="7954010" cy="2681586"/>
          </a:xfrm>
          <a:prstGeom prst="rect">
            <a:avLst/>
          </a:prstGeom>
        </p:spPr>
        <p:txBody>
          <a:bodyPr vert="horz" lIns="91595" tIns="45798" rIns="91595" bIns="45798" rtlCol="0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2" y="6468675"/>
            <a:ext cx="4308422" cy="341701"/>
          </a:xfrm>
          <a:prstGeom prst="rect">
            <a:avLst/>
          </a:prstGeom>
        </p:spPr>
        <p:txBody>
          <a:bodyPr vert="horz" lIns="91595" tIns="45798" rIns="91595" bIns="4579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5631792" y="6468675"/>
            <a:ext cx="4308422" cy="341701"/>
          </a:xfrm>
          <a:prstGeom prst="rect">
            <a:avLst/>
          </a:prstGeom>
        </p:spPr>
        <p:txBody>
          <a:bodyPr vert="horz" lIns="91595" tIns="45798" rIns="91595" bIns="45798" rtlCol="0" anchor="b"/>
          <a:lstStyle>
            <a:lvl1pPr algn="r">
              <a:defRPr sz="1200"/>
            </a:lvl1pPr>
          </a:lstStyle>
          <a:p>
            <a:fld id="{96129EA7-38A1-468F-8FEE-6574E476B64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7884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GS_Diapo_Texte_Sans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10943205" y="6435902"/>
            <a:ext cx="814678" cy="309704"/>
          </a:xfrm>
          <a:prstGeom prst="rect">
            <a:avLst/>
          </a:prstGeom>
        </p:spPr>
        <p:txBody>
          <a:bodyPr lIns="121917" tIns="60958" rIns="121917" bIns="60958"/>
          <a:lstStyle>
            <a:lvl1pPr algn="ctr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1EA4696-CE7E-4B16-ADD7-937198B6ED54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17807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12699" indent="114286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744" y="2277400"/>
            <a:ext cx="1123098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7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6" name="Titre 1"/>
          <p:cNvSpPr txBox="1">
            <a:spLocks/>
          </p:cNvSpPr>
          <p:nvPr userDrawn="1"/>
        </p:nvSpPr>
        <p:spPr>
          <a:xfrm>
            <a:off x="1197154" y="79186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3044229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315" y="2085334"/>
            <a:ext cx="3359563" cy="3841316"/>
          </a:xfrm>
        </p:spPr>
        <p:txBody>
          <a:bodyPr/>
          <a:lstStyle>
            <a:lvl1pPr marL="191976" indent="-191976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15425" y="2085334"/>
            <a:ext cx="3359563" cy="3815232"/>
          </a:xfrm>
        </p:spPr>
        <p:txBody>
          <a:bodyPr/>
          <a:lstStyle>
            <a:lvl1pPr marL="191976" indent="-191976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50912" y="2085334"/>
            <a:ext cx="3359563" cy="3815232"/>
          </a:xfrm>
        </p:spPr>
        <p:txBody>
          <a:bodyPr/>
          <a:lstStyle>
            <a:lvl1pPr marL="191976" indent="-191976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5" name="Titre 18">
            <a:extLst>
              <a:ext uri="{FF2B5EF4-FFF2-40B4-BE49-F238E27FC236}">
                <a16:creationId xmlns:a16="http://schemas.microsoft.com/office/drawing/2014/main" id="{8909A550-9D66-7141-BF64-73CAD209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7" name="Titre 1"/>
          <p:cNvSpPr txBox="1">
            <a:spLocks/>
          </p:cNvSpPr>
          <p:nvPr userDrawn="1"/>
        </p:nvSpPr>
        <p:spPr>
          <a:xfrm>
            <a:off x="1197154" y="92837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1366687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D4959A1A-C7DE-6748-A32B-7732F0ACFC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0" indent="126984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2" name="Titre 18">
            <a:extLst>
              <a:ext uri="{FF2B5EF4-FFF2-40B4-BE49-F238E27FC236}">
                <a16:creationId xmlns:a16="http://schemas.microsoft.com/office/drawing/2014/main" id="{5919F96B-C5FF-5146-9075-19E07CEBB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13" name="Espace réservé du texte 11">
            <a:extLst>
              <a:ext uri="{FF2B5EF4-FFF2-40B4-BE49-F238E27FC236}">
                <a16:creationId xmlns:a16="http://schemas.microsoft.com/office/drawing/2014/main" id="{AC8956DD-B832-6147-8A66-A70995085B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31315" y="2277400"/>
            <a:ext cx="3408184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DF66E72C-274C-AC4E-B20B-393EBD9A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67239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5" name="Espace réservé du texte 11">
            <a:extLst>
              <a:ext uri="{FF2B5EF4-FFF2-40B4-BE49-F238E27FC236}">
                <a16:creationId xmlns:a16="http://schemas.microsoft.com/office/drawing/2014/main" id="{10D42E91-F78E-1D46-9374-4446D0F579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03164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6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86677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sous-titre, textes 3 e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315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0" indent="126984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04A35F-FCE5-0248-9AD4-C4E7502EF1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5244" y="2277400"/>
            <a:ext cx="7487857" cy="3841316"/>
          </a:xfrm>
        </p:spPr>
        <p:txBody>
          <a:bodyPr/>
          <a:lstStyle/>
          <a:p>
            <a:r>
              <a:rPr lang="fr-FR" dirty="0" smtClean="0"/>
              <a:t>Cliquez sur l'icône pour ajouter une image</a:t>
            </a:r>
            <a:endParaRPr lang="fr-FR" dirty="0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0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42525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, sous-titre, textes 3, et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303164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0" indent="126984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66D3B633-BB7B-4941-BF9B-161C5342E3A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31315" y="2277401"/>
            <a:ext cx="7680384" cy="3840522"/>
          </a:xfrm>
        </p:spPr>
        <p:txBody>
          <a:bodyPr/>
          <a:lstStyle/>
          <a:p>
            <a:r>
              <a:rPr lang="fr-FR" dirty="0" smtClean="0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0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28772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4" y="2853597"/>
            <a:ext cx="11230538" cy="305834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333" b="1" cap="all" baseline="0"/>
            </a:lvl1pPr>
            <a:lvl2pPr marL="122752" indent="0">
              <a:spcBef>
                <a:spcPts val="667"/>
              </a:spcBef>
              <a:spcAft>
                <a:spcPts val="0"/>
              </a:spcAft>
              <a:buNone/>
              <a:tabLst/>
              <a:defRPr sz="2467"/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C192E6B1-2CEB-FB47-B10B-D25D43DF8D9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745" y="6398324"/>
            <a:ext cx="1613703" cy="46126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endParaRPr lang="fr-FR" cap="all" dirty="0"/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id="{0593ECE3-ACEF-7441-BABB-08F519CCE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863667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F578734-7B6B-B848-8F7C-20D24745BC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9970" y="164675"/>
            <a:ext cx="2687297" cy="2093157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14017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984228"/>
            <a:ext cx="12190413" cy="5926649"/>
          </a:xfrm>
          <a:solidFill>
            <a:schemeClr val="tx2"/>
          </a:solidFill>
        </p:spPr>
        <p:txBody>
          <a:bodyPr tIns="1080000" anchor="ctr" anchorCtr="0"/>
          <a:lstStyle>
            <a:lvl1pPr algn="ctr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Sélectionner l’icône pour insérer une image, </a:t>
            </a:r>
            <a:br>
              <a:rPr lang="fr-FR" dirty="0"/>
            </a:br>
            <a:r>
              <a:rPr lang="fr-FR" dirty="0"/>
              <a:t>puis disposer l’image en arrière plan </a:t>
            </a:r>
            <a:br>
              <a:rPr lang="fr-FR" dirty="0"/>
            </a:br>
            <a:r>
              <a:rPr lang="fr-FR" dirty="0"/>
              <a:t>(Sélectionner l’image avec le bouton droit de la souris / </a:t>
            </a:r>
            <a:br>
              <a:rPr lang="fr-FR" dirty="0"/>
            </a:br>
            <a:r>
              <a:rPr lang="fr-FR" dirty="0"/>
              <a:t>Mettre à l’arrière plan)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02A90153-98CB-E943-A611-AD9242F1560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85650" y="6398324"/>
            <a:ext cx="1559797" cy="46126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bg1"/>
                </a:solidFill>
              </a:defRPr>
            </a:lvl1pPr>
          </a:lstStyle>
          <a:p>
            <a:endParaRPr lang="fr-FR" cap="all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37" y="984228"/>
            <a:ext cx="11230538" cy="5396449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bg1"/>
            </a:solidFill>
          </a:ln>
        </p:spPr>
        <p:txBody>
          <a:bodyPr lIns="0" bIns="360000" anchor="ctr" anchorCtr="0"/>
          <a:lstStyle>
            <a:lvl1pPr marL="527934" indent="-527934">
              <a:buFont typeface="+mj-lt"/>
              <a:buAutoNum type="arabicPeriod"/>
              <a:defRPr sz="4333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BE3965BE-3A81-1248-821F-39E8294A18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863667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130179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6619532"/>
            <a:ext cx="239969" cy="240056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959875" y="5830616"/>
            <a:ext cx="4319438" cy="597401"/>
          </a:xfrm>
          <a:prstGeom prst="rect">
            <a:avLst/>
          </a:prstGeom>
        </p:spPr>
        <p:txBody>
          <a:bodyPr anchor="ctr" anchorCtr="0"/>
          <a:lstStyle>
            <a:lvl1pPr algn="l">
              <a:defRPr sz="1533"/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6619532"/>
            <a:ext cx="239969" cy="240056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39969" cy="240056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07764BE-02C7-D347-925A-71726A94B0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6472" y="260710"/>
            <a:ext cx="4754750" cy="3703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061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 preserve="1">
  <p:cSld name="One column tex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7"/>
          <p:cNvSpPr txBox="1">
            <a:spLocks noGrp="1"/>
          </p:cNvSpPr>
          <p:nvPr>
            <p:ph type="title"/>
          </p:nvPr>
        </p:nvSpPr>
        <p:spPr>
          <a:xfrm>
            <a:off x="6582743" y="720167"/>
            <a:ext cx="4647795" cy="270942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>
                <a:solidFill>
                  <a:schemeClr val="accent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27" name="Google Shape;27;p7"/>
          <p:cNvSpPr txBox="1">
            <a:spLocks noGrp="1"/>
          </p:cNvSpPr>
          <p:nvPr>
            <p:ph type="subTitle" idx="1"/>
          </p:nvPr>
        </p:nvSpPr>
        <p:spPr>
          <a:xfrm>
            <a:off x="6582743" y="3429794"/>
            <a:ext cx="4647795" cy="260860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76534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47223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4F0766-6309-644C-9BCE-2E607A27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E9918C01-3017-D749-B811-9FCBA80384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744" y="6398323"/>
            <a:ext cx="1559797" cy="4612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6A4A60EE-9D13-3442-9796-E718C6343EC1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1"/>
            <a:ext cx="11231357" cy="324010"/>
          </a:xfrm>
        </p:spPr>
        <p:txBody>
          <a:bodyPr/>
          <a:lstStyle>
            <a:lvl1pPr marL="12699" indent="114289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57" indent="-191981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744" y="2277399"/>
            <a:ext cx="1123098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322825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6506094"/>
            <a:ext cx="12190413" cy="360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57143"/>
            <a:endParaRPr lang="en-GB" sz="1800" dirty="0"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675652" y="6584494"/>
            <a:ext cx="6839110" cy="20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Base nationale des défibrillateurs automatisé</a:t>
            </a:r>
            <a:r>
              <a:rPr lang="fr-FR" sz="1400" b="1" baseline="0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 externes – </a:t>
            </a:r>
            <a:r>
              <a:rPr lang="fr-FR" sz="1400" b="1" baseline="0" noProof="0" dirty="0" err="1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Géo’DAE</a:t>
            </a:r>
            <a:endParaRPr lang="fr-FR" sz="1400" b="1" baseline="0" noProof="0" dirty="0" smtClean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Image 2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38251" y="165399"/>
            <a:ext cx="1466741" cy="612142"/>
          </a:xfrm>
          <a:prstGeom prst="rect">
            <a:avLst/>
          </a:prstGeom>
        </p:spPr>
      </p:pic>
      <p:sp>
        <p:nvSpPr>
          <p:cNvPr id="25" name="Titre 1"/>
          <p:cNvSpPr txBox="1">
            <a:spLocks/>
          </p:cNvSpPr>
          <p:nvPr userDrawn="1"/>
        </p:nvSpPr>
        <p:spPr>
          <a:xfrm>
            <a:off x="1557078" y="163138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  <p:sp>
        <p:nvSpPr>
          <p:cNvPr id="12" name="Rectangle 9"/>
          <p:cNvSpPr>
            <a:spLocks noChangeArrowheads="1"/>
          </p:cNvSpPr>
          <p:nvPr userDrawn="1"/>
        </p:nvSpPr>
        <p:spPr bwMode="auto">
          <a:xfrm flipV="1">
            <a:off x="1248329" y="590937"/>
            <a:ext cx="9262794" cy="36008"/>
          </a:xfrm>
          <a:prstGeom prst="rect">
            <a:avLst/>
          </a:prstGeom>
          <a:solidFill>
            <a:srgbClr val="00419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3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64348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ster Slide" type="title" preserve="1">
  <p:cSld name="Master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sldNum" idx="12"/>
          </p:nvPr>
        </p:nvSpPr>
        <p:spPr>
          <a:xfrm>
            <a:off x="5989968" y="6430866"/>
            <a:ext cx="210477" cy="14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00000000-1234-1234-1234-123412341234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634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GS_Diapo_Texte_Titre 1 lig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10943205" y="6435902"/>
            <a:ext cx="814678" cy="309704"/>
          </a:xfrm>
          <a:prstGeom prst="rect">
            <a:avLst/>
          </a:prstGeom>
        </p:spPr>
        <p:txBody>
          <a:bodyPr lIns="121917" tIns="60958" rIns="121917" bIns="60958"/>
          <a:lstStyle>
            <a:lvl1pPr algn="ctr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1EA4696-CE7E-4B16-ADD7-937198B6ED54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27166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GS_Diapo_Texte_Sans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10943205" y="6435902"/>
            <a:ext cx="814678" cy="309704"/>
          </a:xfrm>
          <a:prstGeom prst="rect">
            <a:avLst/>
          </a:prstGeom>
        </p:spPr>
        <p:txBody>
          <a:bodyPr lIns="121917" tIns="60958" rIns="121917" bIns="60958"/>
          <a:lstStyle>
            <a:lvl1pPr algn="ctr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1EA4696-CE7E-4B16-ADD7-937198B6ED54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52788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ster Slide" type="title">
  <p:cSld name="Master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sldNum" idx="12"/>
          </p:nvPr>
        </p:nvSpPr>
        <p:spPr>
          <a:xfrm>
            <a:off x="5989968" y="6430866"/>
            <a:ext cx="210477" cy="14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00000000-1234-1234-1234-123412341234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63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7"/>
          <p:cNvSpPr txBox="1">
            <a:spLocks noGrp="1"/>
          </p:cNvSpPr>
          <p:nvPr>
            <p:ph type="title"/>
          </p:nvPr>
        </p:nvSpPr>
        <p:spPr>
          <a:xfrm>
            <a:off x="6582743" y="720167"/>
            <a:ext cx="4647795" cy="270942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>
                <a:solidFill>
                  <a:schemeClr val="accent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27" name="Google Shape;27;p7"/>
          <p:cNvSpPr txBox="1">
            <a:spLocks noGrp="1"/>
          </p:cNvSpPr>
          <p:nvPr>
            <p:ph type="subTitle" idx="1"/>
          </p:nvPr>
        </p:nvSpPr>
        <p:spPr>
          <a:xfrm>
            <a:off x="6582743" y="3429794"/>
            <a:ext cx="4647795" cy="260860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12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62800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12699" indent="114286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744" y="2277400"/>
            <a:ext cx="1123098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7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6" name="Titre 1"/>
          <p:cNvSpPr txBox="1">
            <a:spLocks/>
          </p:cNvSpPr>
          <p:nvPr userDrawn="1"/>
        </p:nvSpPr>
        <p:spPr>
          <a:xfrm>
            <a:off x="1197154" y="79186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2117293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315" y="2085334"/>
            <a:ext cx="3359563" cy="3841316"/>
          </a:xfrm>
        </p:spPr>
        <p:txBody>
          <a:bodyPr/>
          <a:lstStyle>
            <a:lvl1pPr marL="191976" indent="-191976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15425" y="2085334"/>
            <a:ext cx="3359563" cy="3815232"/>
          </a:xfrm>
        </p:spPr>
        <p:txBody>
          <a:bodyPr/>
          <a:lstStyle>
            <a:lvl1pPr marL="191976" indent="-191976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50912" y="2085334"/>
            <a:ext cx="3359563" cy="3815232"/>
          </a:xfrm>
        </p:spPr>
        <p:txBody>
          <a:bodyPr/>
          <a:lstStyle>
            <a:lvl1pPr marL="191976" indent="-191976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5" name="Titre 18">
            <a:extLst>
              <a:ext uri="{FF2B5EF4-FFF2-40B4-BE49-F238E27FC236}">
                <a16:creationId xmlns:a16="http://schemas.microsoft.com/office/drawing/2014/main" id="{8909A550-9D66-7141-BF64-73CAD209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7" name="Titre 1"/>
          <p:cNvSpPr txBox="1">
            <a:spLocks/>
          </p:cNvSpPr>
          <p:nvPr userDrawn="1"/>
        </p:nvSpPr>
        <p:spPr>
          <a:xfrm>
            <a:off x="1197154" y="92837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1037461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D4959A1A-C7DE-6748-A32B-7732F0ACFC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0" indent="126984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2" name="Titre 18">
            <a:extLst>
              <a:ext uri="{FF2B5EF4-FFF2-40B4-BE49-F238E27FC236}">
                <a16:creationId xmlns:a16="http://schemas.microsoft.com/office/drawing/2014/main" id="{5919F96B-C5FF-5146-9075-19E07CEBB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13" name="Espace réservé du texte 11">
            <a:extLst>
              <a:ext uri="{FF2B5EF4-FFF2-40B4-BE49-F238E27FC236}">
                <a16:creationId xmlns:a16="http://schemas.microsoft.com/office/drawing/2014/main" id="{AC8956DD-B832-6147-8A66-A70995085B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31315" y="2277400"/>
            <a:ext cx="3408184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DF66E72C-274C-AC4E-B20B-393EBD9A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67239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5" name="Espace réservé du texte 11">
            <a:extLst>
              <a:ext uri="{FF2B5EF4-FFF2-40B4-BE49-F238E27FC236}">
                <a16:creationId xmlns:a16="http://schemas.microsoft.com/office/drawing/2014/main" id="{10D42E91-F78E-1D46-9374-4446D0F579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03164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6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52292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314" y="2085333"/>
            <a:ext cx="3359563" cy="3841316"/>
          </a:xfrm>
        </p:spPr>
        <p:txBody>
          <a:bodyPr/>
          <a:lstStyle>
            <a:lvl1pPr marL="191981" indent="-191981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57" indent="-191981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15425" y="2085333"/>
            <a:ext cx="3359563" cy="3815233"/>
          </a:xfrm>
        </p:spPr>
        <p:txBody>
          <a:bodyPr/>
          <a:lstStyle>
            <a:lvl1pPr marL="191981" indent="-191981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57" indent="-191981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50911" y="2085333"/>
            <a:ext cx="3359563" cy="3815233"/>
          </a:xfrm>
        </p:spPr>
        <p:txBody>
          <a:bodyPr/>
          <a:lstStyle>
            <a:lvl1pPr marL="191981" indent="-191981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57" indent="-191981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de la date 3">
            <a:extLst>
              <a:ext uri="{FF2B5EF4-FFF2-40B4-BE49-F238E27FC236}">
                <a16:creationId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745" y="6398323"/>
            <a:ext cx="1613703" cy="4612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251C71F6-E0A6-1740-B64F-38F332886BAF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sp>
        <p:nvSpPr>
          <p:cNvPr id="25" name="Titre 18">
            <a:extLst>
              <a:ext uri="{FF2B5EF4-FFF2-40B4-BE49-F238E27FC236}">
                <a16:creationId xmlns:a16="http://schemas.microsoft.com/office/drawing/2014/main" id="{8909A550-9D66-7141-BF64-73CAD209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8" cy="720155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222250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sous-titre, textes 3 e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315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0" indent="126984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04A35F-FCE5-0248-9AD4-C4E7502EF1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5244" y="2277400"/>
            <a:ext cx="7487857" cy="3841316"/>
          </a:xfrm>
        </p:spPr>
        <p:txBody>
          <a:bodyPr/>
          <a:lstStyle/>
          <a:p>
            <a:r>
              <a:rPr lang="fr-FR" dirty="0" smtClean="0"/>
              <a:t>Cliquez sur l'icône pour ajouter une image</a:t>
            </a:r>
            <a:endParaRPr lang="fr-FR" dirty="0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0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43722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, sous-titre, textes 3, et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303164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0" indent="126984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66D3B633-BB7B-4941-BF9B-161C5342E3A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31315" y="2277401"/>
            <a:ext cx="7680384" cy="3840522"/>
          </a:xfrm>
        </p:spPr>
        <p:txBody>
          <a:bodyPr/>
          <a:lstStyle/>
          <a:p>
            <a:r>
              <a:rPr lang="fr-FR" dirty="0" smtClean="0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0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86880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4" y="2853597"/>
            <a:ext cx="11230538" cy="305834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333" b="1" cap="all" baseline="0"/>
            </a:lvl1pPr>
            <a:lvl2pPr marL="122752" indent="0">
              <a:spcBef>
                <a:spcPts val="667"/>
              </a:spcBef>
              <a:spcAft>
                <a:spcPts val="0"/>
              </a:spcAft>
              <a:buNone/>
              <a:tabLst/>
              <a:defRPr sz="2467"/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C192E6B1-2CEB-FB47-B10B-D25D43DF8D9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745" y="6398324"/>
            <a:ext cx="1613703" cy="46126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endParaRPr lang="fr-FR" cap="all" dirty="0"/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id="{0593ECE3-ACEF-7441-BABB-08F519CCE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863667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F578734-7B6B-B848-8F7C-20D24745BC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9970" y="164675"/>
            <a:ext cx="2687297" cy="2093157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55799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984228"/>
            <a:ext cx="12190413" cy="5926649"/>
          </a:xfrm>
          <a:solidFill>
            <a:schemeClr val="tx2"/>
          </a:solidFill>
        </p:spPr>
        <p:txBody>
          <a:bodyPr tIns="1080000" anchor="ctr" anchorCtr="0"/>
          <a:lstStyle>
            <a:lvl1pPr algn="ctr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Sélectionner l’icône pour insérer une image, </a:t>
            </a:r>
            <a:br>
              <a:rPr lang="fr-FR" dirty="0"/>
            </a:br>
            <a:r>
              <a:rPr lang="fr-FR" dirty="0"/>
              <a:t>puis disposer l’image en arrière plan </a:t>
            </a:r>
            <a:br>
              <a:rPr lang="fr-FR" dirty="0"/>
            </a:br>
            <a:r>
              <a:rPr lang="fr-FR" dirty="0"/>
              <a:t>(Sélectionner l’image avec le bouton droit de la souris / </a:t>
            </a:r>
            <a:br>
              <a:rPr lang="fr-FR" dirty="0"/>
            </a:br>
            <a:r>
              <a:rPr lang="fr-FR" dirty="0"/>
              <a:t>Mettre à l’arrière plan)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02A90153-98CB-E943-A611-AD9242F1560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85650" y="6398324"/>
            <a:ext cx="1559797" cy="46126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bg1"/>
                </a:solidFill>
              </a:defRPr>
            </a:lvl1pPr>
          </a:lstStyle>
          <a:p>
            <a:endParaRPr lang="fr-FR" cap="all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37" y="984228"/>
            <a:ext cx="11230538" cy="5396449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bg1"/>
            </a:solidFill>
          </a:ln>
        </p:spPr>
        <p:txBody>
          <a:bodyPr lIns="0" bIns="360000" anchor="ctr" anchorCtr="0"/>
          <a:lstStyle>
            <a:lvl1pPr marL="527934" indent="-527934">
              <a:buFont typeface="+mj-lt"/>
              <a:buAutoNum type="arabicPeriod"/>
              <a:defRPr sz="4333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BE3965BE-3A81-1248-821F-39E8294A18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863667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66439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6619532"/>
            <a:ext cx="239969" cy="240056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959875" y="5830616"/>
            <a:ext cx="4319438" cy="597401"/>
          </a:xfrm>
          <a:prstGeom prst="rect">
            <a:avLst/>
          </a:prstGeom>
        </p:spPr>
        <p:txBody>
          <a:bodyPr anchor="ctr" anchorCtr="0"/>
          <a:lstStyle>
            <a:lvl1pPr algn="l">
              <a:defRPr sz="1533"/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6619532"/>
            <a:ext cx="239969" cy="240056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39969" cy="240056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07764BE-02C7-D347-925A-71726A94B0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6472" y="260710"/>
            <a:ext cx="4754750" cy="3703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029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895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6506094"/>
            <a:ext cx="12190413" cy="360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57143"/>
            <a:endParaRPr lang="en-GB" sz="1800" dirty="0"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675652" y="6584494"/>
            <a:ext cx="6839110" cy="20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Base nationale des défibrillateurs automatisé</a:t>
            </a:r>
            <a:r>
              <a:rPr lang="fr-FR" sz="1400" b="1" baseline="0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 externes – </a:t>
            </a:r>
            <a:r>
              <a:rPr lang="fr-FR" sz="1400" b="1" baseline="0" noProof="0" dirty="0" err="1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Géo’DAE</a:t>
            </a:r>
            <a:endParaRPr lang="fr-FR" sz="1400" b="1" baseline="0" noProof="0" dirty="0" smtClean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Image 2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38251" y="165399"/>
            <a:ext cx="1466741" cy="612142"/>
          </a:xfrm>
          <a:prstGeom prst="rect">
            <a:avLst/>
          </a:prstGeom>
        </p:spPr>
      </p:pic>
      <p:sp>
        <p:nvSpPr>
          <p:cNvPr id="25" name="Titre 1"/>
          <p:cNvSpPr txBox="1">
            <a:spLocks/>
          </p:cNvSpPr>
          <p:nvPr userDrawn="1"/>
        </p:nvSpPr>
        <p:spPr>
          <a:xfrm>
            <a:off x="1557078" y="163138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  <p:sp>
        <p:nvSpPr>
          <p:cNvPr id="12" name="Rectangle 9"/>
          <p:cNvSpPr>
            <a:spLocks noChangeArrowheads="1"/>
          </p:cNvSpPr>
          <p:nvPr userDrawn="1"/>
        </p:nvSpPr>
        <p:spPr bwMode="auto">
          <a:xfrm flipV="1">
            <a:off x="1248329" y="590937"/>
            <a:ext cx="9262794" cy="36008"/>
          </a:xfrm>
          <a:prstGeom prst="rect">
            <a:avLst/>
          </a:prstGeom>
          <a:solidFill>
            <a:srgbClr val="00419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3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00151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ster Slide" type="title">
  <p:cSld name="Master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sldNum" idx="12"/>
          </p:nvPr>
        </p:nvSpPr>
        <p:spPr>
          <a:xfrm>
            <a:off x="5989968" y="6430866"/>
            <a:ext cx="210477" cy="14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00000000-1234-1234-1234-123412341234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1008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3" name="Espace réservé de la date 3">
            <a:extLst>
              <a:ext uri="{FF2B5EF4-FFF2-40B4-BE49-F238E27FC236}">
                <a16:creationId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745" y="6398323"/>
            <a:ext cx="1613703" cy="4612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5E6183FC-BA60-7C49-ABF3-B50982741576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D4959A1A-C7DE-6748-A32B-7732F0ACFC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31745" y="1665291"/>
            <a:ext cx="11231357" cy="324010"/>
          </a:xfrm>
        </p:spPr>
        <p:txBody>
          <a:bodyPr/>
          <a:lstStyle>
            <a:lvl1pPr marL="0" indent="126987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57" indent="-191981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2" name="Titre 18">
            <a:extLst>
              <a:ext uri="{FF2B5EF4-FFF2-40B4-BE49-F238E27FC236}">
                <a16:creationId xmlns:a16="http://schemas.microsoft.com/office/drawing/2014/main" id="{5919F96B-C5FF-5146-9075-19E07CEBB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8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13" name="Espace réservé du texte 11">
            <a:extLst>
              <a:ext uri="{FF2B5EF4-FFF2-40B4-BE49-F238E27FC236}">
                <a16:creationId xmlns:a16="http://schemas.microsoft.com/office/drawing/2014/main" id="{AC8956DD-B832-6147-8A66-A70995085B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31315" y="2277399"/>
            <a:ext cx="3408184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DF66E72C-274C-AC4E-B20B-393EBD9A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67239" y="2277399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5" name="Espace réservé du texte 11">
            <a:extLst>
              <a:ext uri="{FF2B5EF4-FFF2-40B4-BE49-F238E27FC236}">
                <a16:creationId xmlns:a16="http://schemas.microsoft.com/office/drawing/2014/main" id="{10D42E91-F78E-1D46-9374-4446D0F579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03164" y="2277399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793425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sous-titre, textes 3 e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314" y="2277399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745" y="6398323"/>
            <a:ext cx="1613703" cy="4612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0597CDB5-73DC-8641-8CC1-FAD9379FD627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1"/>
            <a:ext cx="11231357" cy="324010"/>
          </a:xfrm>
        </p:spPr>
        <p:txBody>
          <a:bodyPr/>
          <a:lstStyle>
            <a:lvl1pPr marL="0" indent="126987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57" indent="-191981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8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04A35F-FCE5-0248-9AD4-C4E7502EF1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5243" y="2277399"/>
            <a:ext cx="7487857" cy="3841316"/>
          </a:xfrm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fr-FR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098309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, sous-titre, textes 3, et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303164" y="2277399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745" y="6398323"/>
            <a:ext cx="1613703" cy="4612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8E1290DD-BE4D-794B-919C-D565D1B9C67D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1"/>
            <a:ext cx="11231357" cy="324010"/>
          </a:xfrm>
        </p:spPr>
        <p:txBody>
          <a:bodyPr/>
          <a:lstStyle>
            <a:lvl1pPr marL="0" indent="126987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57" indent="-191981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8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66D3B633-BB7B-4941-BF9B-161C5342E3A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31315" y="2277400"/>
            <a:ext cx="7680384" cy="3840522"/>
          </a:xfrm>
        </p:spPr>
        <p:txBody>
          <a:bodyPr/>
          <a:lstStyle/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169423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4" y="2853597"/>
            <a:ext cx="11230538" cy="305834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333" b="1" cap="all" baseline="0"/>
            </a:lvl1pPr>
            <a:lvl2pPr marL="122754" indent="0">
              <a:spcBef>
                <a:spcPts val="667"/>
              </a:spcBef>
              <a:spcAft>
                <a:spcPts val="0"/>
              </a:spcAft>
              <a:buNone/>
              <a:tabLst/>
              <a:defRPr sz="2466"/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cxnSp>
        <p:nvCxnSpPr>
          <p:cNvPr id="12" name="Connecteur droit 11"/>
          <p:cNvCxnSpPr>
            <a:cxnSpLocks/>
          </p:cNvCxnSpPr>
          <p:nvPr/>
        </p:nvCxnSpPr>
        <p:spPr bwMode="gray">
          <a:xfrm>
            <a:off x="431744" y="6380677"/>
            <a:ext cx="11231357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C192E6B1-2CEB-FB47-B10B-D25D43DF8D9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745" y="6398323"/>
            <a:ext cx="1613703" cy="4612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7698221-35EF-134F-B87A-568DECC70F29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id="{0593ECE3-ACEF-7441-BABB-08F519CCE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863666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F578734-7B6B-B848-8F7C-20D24745BC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9970" y="266702"/>
            <a:ext cx="3031913" cy="1914665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482644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984228"/>
            <a:ext cx="12190413" cy="5926649"/>
          </a:xfrm>
          <a:solidFill>
            <a:schemeClr val="tx2"/>
          </a:solidFill>
        </p:spPr>
        <p:txBody>
          <a:bodyPr tIns="1080000" anchor="ctr" anchorCtr="0"/>
          <a:lstStyle>
            <a:lvl1pPr algn="ctr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Sélectionner l’icône pour insérer une image, </a:t>
            </a:r>
            <a:br>
              <a:rPr lang="fr-FR" dirty="0"/>
            </a:br>
            <a:r>
              <a:rPr lang="fr-FR" dirty="0"/>
              <a:t>puis disposer l’image en arrière plan </a:t>
            </a:r>
            <a:br>
              <a:rPr lang="fr-FR" dirty="0"/>
            </a:br>
            <a:r>
              <a:rPr lang="fr-FR" dirty="0"/>
              <a:t>(Sélectionner l’image avec le bouton droit de la souris / </a:t>
            </a:r>
            <a:br>
              <a:rPr lang="fr-FR" dirty="0"/>
            </a:br>
            <a:r>
              <a:rPr lang="fr-FR" dirty="0"/>
              <a:t>Mettre à l’arrière plan)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02A90153-98CB-E943-A611-AD9242F1560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85650" y="6398323"/>
            <a:ext cx="1559797" cy="4612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bg1"/>
                </a:solidFill>
              </a:defRPr>
            </a:lvl1pPr>
          </a:lstStyle>
          <a:p>
            <a:fld id="{5F7325A3-5315-1B4B-A0D9-112471EB5837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36" y="984228"/>
            <a:ext cx="11230538" cy="5396449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bg1"/>
            </a:solidFill>
          </a:ln>
        </p:spPr>
        <p:txBody>
          <a:bodyPr lIns="0" bIns="360000" anchor="ctr" anchorCtr="0"/>
          <a:lstStyle>
            <a:lvl1pPr marL="527947" indent="-527947">
              <a:buFont typeface="+mj-lt"/>
              <a:buAutoNum type="arabicPeriod"/>
              <a:defRPr sz="4333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BE3965BE-3A81-1248-821F-39E8294A18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863666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394097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6619532"/>
            <a:ext cx="239969" cy="240056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4EA19884-7A29-DC4E-9311-A62E54788E52}" type="datetime1">
              <a:rPr lang="fr-FR" smtClean="0"/>
              <a:t>16/12/2022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959875" y="5830616"/>
            <a:ext cx="4319438" cy="597401"/>
          </a:xfrm>
          <a:prstGeom prst="rect">
            <a:avLst/>
          </a:prstGeom>
        </p:spPr>
        <p:txBody>
          <a:bodyPr anchor="ctr" anchorCtr="0"/>
          <a:lstStyle>
            <a:lvl1pPr algn="l">
              <a:defRPr sz="1533"/>
            </a:lvl1pPr>
          </a:lstStyle>
          <a:p>
            <a:r>
              <a:rPr lang="fr-FR" dirty="0" smtClean="0"/>
              <a:t>Direction générale</a:t>
            </a:r>
          </a:p>
          <a:p>
            <a:r>
              <a:rPr lang="fr-FR" dirty="0" smtClean="0"/>
              <a:t>de la santé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6619532"/>
            <a:ext cx="239969" cy="240056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39969" cy="240056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07764BE-02C7-D347-925A-71726A94B0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6471" y="611141"/>
            <a:ext cx="5527886" cy="3490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4026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5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4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245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</p:sldLayoutIdLst>
  <p:timing>
    <p:tnLst>
      <p:par>
        <p:cTn id="1" dur="indefinite" restart="never" nodeType="tmRoot"/>
      </p:par>
    </p:tnLst>
  </p:timing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431745" y="2277400"/>
            <a:ext cx="11231688" cy="39373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9863666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0" name="Connecteur droit 9"/>
          <p:cNvCxnSpPr>
            <a:cxnSpLocks/>
          </p:cNvCxnSpPr>
          <p:nvPr/>
        </p:nvCxnSpPr>
        <p:spPr bwMode="gray">
          <a:xfrm>
            <a:off x="431744" y="6380677"/>
            <a:ext cx="11231357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id="{59FB2B3E-557E-DB42-9DB7-D6A72FD3A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745" y="910613"/>
            <a:ext cx="11231688" cy="7201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Titre 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8170561-5F7A-B046-81BE-E60E60355D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20883" y="6379478"/>
            <a:ext cx="2742843" cy="3662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B858D49A-5A7A-574D-A0ED-52B5C1EFA876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071FEB6-0E77-DD46-9DA0-C52EF51FC7F3}"/>
              </a:ext>
            </a:extLst>
          </p:cNvPr>
          <p:cNvCxnSpPr/>
          <p:nvPr/>
        </p:nvCxnSpPr>
        <p:spPr bwMode="gray">
          <a:xfrm>
            <a:off x="479938" y="6380677"/>
            <a:ext cx="11230538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 12">
            <a:extLst>
              <a:ext uri="{FF2B5EF4-FFF2-40B4-BE49-F238E27FC236}">
                <a16:creationId xmlns:a16="http://schemas.microsoft.com/office/drawing/2014/main" id="{433B51AF-3A50-3342-8D79-F2F92F59917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83949" y="68643"/>
            <a:ext cx="1262369" cy="797191"/>
          </a:xfrm>
          <a:prstGeom prst="rect">
            <a:avLst/>
          </a:prstGeom>
        </p:spPr>
      </p:pic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59681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</p:sldLayoutIdLst>
  <p:hf hdr="0"/>
  <p:txStyles>
    <p:titleStyle>
      <a:lvl1pPr marL="19049" indent="0" algn="l" defTabSz="1219078" rtl="0" eaLnBrk="1" latinLnBrk="0" hangingPunct="1">
        <a:lnSpc>
          <a:spcPct val="90000"/>
        </a:lnSpc>
        <a:spcBef>
          <a:spcPct val="0"/>
        </a:spcBef>
        <a:buNone/>
        <a:tabLst/>
        <a:defRPr sz="33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2754" indent="0" algn="l" defTabSz="1219078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Arial" pitchFamily="34" charset="0"/>
        <a:buNone/>
        <a:tabLst/>
        <a:defRPr sz="1866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8553" indent="-228577" algn="l" defTabSz="1219078" rtl="0" eaLnBrk="1" latinLnBrk="0" hangingPunct="1">
        <a:lnSpc>
          <a:spcPct val="100000"/>
        </a:lnSpc>
        <a:spcBef>
          <a:spcPts val="800"/>
        </a:spcBef>
        <a:spcAft>
          <a:spcPts val="800"/>
        </a:spcAft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08529" indent="-228577" algn="l" defTabSz="121907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Wingdings" pitchFamily="2" charset="2"/>
        <a:buChar char="§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948505" indent="-228577" algn="l" defTabSz="121907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Arial" panose="020B0604020202020204" pitchFamily="34" charset="0"/>
        <a:buChar char="•"/>
        <a:defRPr sz="1067" kern="1200">
          <a:solidFill>
            <a:schemeClr val="tx1"/>
          </a:solidFill>
          <a:latin typeface="+mn-lt"/>
          <a:ea typeface="+mn-ea"/>
          <a:cs typeface="+mn-cs"/>
        </a:defRPr>
      </a:lvl4pPr>
      <a:lvl5pPr marL="1236476" indent="-228577" algn="l" defTabSz="121907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Wingdings" pitchFamily="2" charset="2"/>
        <a:buChar char="§"/>
        <a:defRPr sz="9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465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4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indent="0" algn="l" defTabSz="1219078" rtl="0" eaLnBrk="1" latinLnBrk="0" hangingPunct="1">
        <a:spcBef>
          <a:spcPct val="20000"/>
        </a:spcBef>
        <a:buFont typeface="Arial" pitchFamily="34" charset="0"/>
        <a:buNone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4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0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431745" y="2277401"/>
            <a:ext cx="11231689" cy="39373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id="{59FB2B3E-557E-DB42-9DB7-D6A72FD3A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745" y="910613"/>
            <a:ext cx="11231689" cy="7201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Titre 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" y="6506094"/>
            <a:ext cx="12190413" cy="360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57143"/>
            <a:endParaRPr lang="en-GB" sz="1800" dirty="0"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675652" y="6584494"/>
            <a:ext cx="6839110" cy="20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Base nationale des défibrillateurs automatisé</a:t>
            </a:r>
            <a:r>
              <a:rPr lang="fr-FR" sz="1400" b="1" baseline="0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 externes – </a:t>
            </a:r>
            <a:r>
              <a:rPr lang="fr-FR" sz="1400" b="1" baseline="0" noProof="0" dirty="0" err="1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Géo’DAE</a:t>
            </a:r>
            <a:endParaRPr lang="fr-FR" sz="1400" b="1" baseline="0" noProof="0" dirty="0" smtClean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538251" y="281942"/>
            <a:ext cx="1466741" cy="612142"/>
          </a:xfrm>
          <a:prstGeom prst="rect">
            <a:avLst/>
          </a:prstGeom>
        </p:spPr>
      </p:pic>
      <p:sp>
        <p:nvSpPr>
          <p:cNvPr id="10" name="Rectangle 9"/>
          <p:cNvSpPr>
            <a:spLocks noChangeArrowheads="1"/>
          </p:cNvSpPr>
          <p:nvPr userDrawn="1"/>
        </p:nvSpPr>
        <p:spPr bwMode="auto">
          <a:xfrm flipV="1">
            <a:off x="1161554" y="703745"/>
            <a:ext cx="9358782" cy="28807"/>
          </a:xfrm>
          <a:prstGeom prst="rect">
            <a:avLst/>
          </a:prstGeom>
          <a:solidFill>
            <a:srgbClr val="00419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1" name="Titre 1"/>
          <p:cNvSpPr txBox="1">
            <a:spLocks/>
          </p:cNvSpPr>
          <p:nvPr userDrawn="1"/>
        </p:nvSpPr>
        <p:spPr>
          <a:xfrm>
            <a:off x="1197154" y="195729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9863667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433B51AF-3A50-3342-8D79-F2F92F59917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83949" y="68643"/>
            <a:ext cx="1262369" cy="797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86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marL="19048" indent="0" algn="l" defTabSz="1219048" rtl="0" eaLnBrk="1" latinLnBrk="0" hangingPunct="1">
        <a:lnSpc>
          <a:spcPct val="90000"/>
        </a:lnSpc>
        <a:spcBef>
          <a:spcPct val="0"/>
        </a:spcBef>
        <a:buNone/>
        <a:tabLst/>
        <a:defRPr sz="33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2752" indent="0" algn="l" defTabSz="1219048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Arial" pitchFamily="34" charset="0"/>
        <a:buNone/>
        <a:tabLst/>
        <a:defRPr sz="1867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8541" indent="-228571" algn="l" defTabSz="1219048" rtl="0" eaLnBrk="1" latinLnBrk="0" hangingPunct="1">
        <a:lnSpc>
          <a:spcPct val="100000"/>
        </a:lnSpc>
        <a:spcBef>
          <a:spcPts val="800"/>
        </a:spcBef>
        <a:spcAft>
          <a:spcPts val="800"/>
        </a:spcAft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08511" indent="-228571" algn="l" defTabSz="121904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Wingdings" pitchFamily="2" charset="2"/>
        <a:buChar char="§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948481" indent="-228571" algn="l" defTabSz="121904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Arial" panose="020B0604020202020204" pitchFamily="34" charset="0"/>
        <a:buChar char="•"/>
        <a:defRPr sz="1067" kern="1200">
          <a:solidFill>
            <a:schemeClr val="tx1"/>
          </a:solidFill>
          <a:latin typeface="+mn-lt"/>
          <a:ea typeface="+mn-ea"/>
          <a:cs typeface="+mn-cs"/>
        </a:defRPr>
      </a:lvl4pPr>
      <a:lvl5pPr marL="1236445" indent="-228571" algn="l" defTabSz="121904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Wingdings" pitchFamily="2" charset="2"/>
        <a:buChar char="§"/>
        <a:defRPr sz="9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381" indent="-304762" algn="l" defTabSz="1219048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1905" indent="-304762" algn="l" defTabSz="1219048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6" indent="0" algn="l" defTabSz="1219048" rtl="0" eaLnBrk="1" latinLnBrk="0" hangingPunct="1">
        <a:spcBef>
          <a:spcPct val="20000"/>
        </a:spcBef>
        <a:buFont typeface="Arial" pitchFamily="34" charset="0"/>
        <a:buNone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0952" indent="-304762" algn="l" defTabSz="1219048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24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48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71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95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19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143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6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90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04">
          <p15:clr>
            <a:srgbClr val="F26B43"/>
          </p15:clr>
        </p15:guide>
        <p15:guide id="3" orient="horz" pos="73">
          <p15:clr>
            <a:srgbClr val="F26B43"/>
          </p15:clr>
        </p15:guide>
        <p15:guide id="4" orient="horz" pos="300">
          <p15:clr>
            <a:srgbClr val="F26B43"/>
          </p15:clr>
        </p15:guide>
        <p15:guide id="5" orient="horz" pos="48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6506092"/>
            <a:ext cx="12190413" cy="360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10943205" y="6560092"/>
            <a:ext cx="814678" cy="252000"/>
          </a:xfrm>
          <a:prstGeom prst="rect">
            <a:avLst/>
          </a:prstGeom>
        </p:spPr>
        <p:txBody>
          <a:bodyPr lIns="121917" tIns="60958" rIns="121917" bIns="60958" anchor="ctr"/>
          <a:lstStyle>
            <a:lvl1pPr algn="ctr"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1EA4696-CE7E-4B16-ADD7-937198B6ED54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4292600" y="6584492"/>
            <a:ext cx="3606800" cy="20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Charte d’usage Géo’DAE – Base nationale</a:t>
            </a:r>
            <a:r>
              <a:rPr lang="fr-FR" sz="1000" b="1" baseline="0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des défibrillateurs</a:t>
            </a:r>
            <a:endParaRPr lang="fr-FR" sz="1000" b="1" noProof="0" dirty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390525" y="548200"/>
            <a:ext cx="1080000" cy="72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Imag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525" y="6560151"/>
            <a:ext cx="257175" cy="251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401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7" r:id="rId2"/>
    <p:sldLayoutId id="2147483771" r:id="rId3"/>
    <p:sldLayoutId id="2147483772" r:id="rId4"/>
    <p:sldLayoutId id="2147483773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marL="0" algn="l" defTabSz="1219170" rtl="0" eaLnBrk="1" latinLnBrk="0" hangingPunct="1">
        <a:spcBef>
          <a:spcPct val="0"/>
        </a:spcBef>
        <a:buNone/>
        <a:defRPr lang="fr-FR" sz="2400" b="1" i="1" kern="1200" dirty="0">
          <a:solidFill>
            <a:schemeClr val="bg1"/>
          </a:solidFill>
          <a:latin typeface="Cambria" panose="02040503050406030204" pitchFamily="18" charset="0"/>
          <a:ea typeface="+mn-ea"/>
          <a:cs typeface="+mn-cs"/>
        </a:defRPr>
      </a:lvl1pPr>
    </p:titleStyle>
    <p:bodyStyle>
      <a:lvl1pPr marL="380990" indent="-380990" algn="l" defTabSz="1219170" rtl="0" eaLnBrk="1" latinLnBrk="0" hangingPunct="1">
        <a:spcBef>
          <a:spcPct val="20000"/>
        </a:spcBef>
        <a:spcAft>
          <a:spcPts val="1600"/>
        </a:spcAft>
        <a:buFont typeface="Arial" panose="020B0604020202020204" pitchFamily="34" charset="0"/>
        <a:buChar char="•"/>
        <a:defRPr lang="fr-FR" sz="2300" b="1" i="0" u="none" strike="noStrike" kern="1200" baseline="0" dirty="0" smtClean="0">
          <a:solidFill>
            <a:srgbClr val="3C4693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800"/>
        </a:spcBef>
        <a:spcAft>
          <a:spcPts val="800"/>
        </a:spcAft>
        <a:buFont typeface="Arial" panose="020B0604020202020204" pitchFamily="34" charset="0"/>
        <a:buNone/>
        <a:defRPr lang="fr-FR" sz="2000" b="1" kern="1200" dirty="0" smtClean="0">
          <a:solidFill>
            <a:srgbClr val="C8D223"/>
          </a:solidFill>
          <a:latin typeface="+mj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285943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431745" y="2277401"/>
            <a:ext cx="11231689" cy="39373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id="{59FB2B3E-557E-DB42-9DB7-D6A72FD3A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745" y="910613"/>
            <a:ext cx="11231689" cy="7201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Titre 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" y="6506094"/>
            <a:ext cx="12190413" cy="360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57143"/>
            <a:endParaRPr lang="en-GB" sz="1800" dirty="0"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675652" y="6584494"/>
            <a:ext cx="6839110" cy="20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Base nationale des défibrillateurs automatisé</a:t>
            </a:r>
            <a:r>
              <a:rPr lang="fr-FR" sz="1400" b="1" baseline="0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 externes – </a:t>
            </a:r>
            <a:r>
              <a:rPr lang="fr-FR" sz="1400" b="1" baseline="0" noProof="0" dirty="0" err="1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Géo’DAE</a:t>
            </a:r>
            <a:endParaRPr lang="fr-FR" sz="1400" b="1" baseline="0" noProof="0" dirty="0" smtClean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538251" y="308836"/>
            <a:ext cx="1466741" cy="612142"/>
          </a:xfrm>
          <a:prstGeom prst="rect">
            <a:avLst/>
          </a:prstGeom>
        </p:spPr>
      </p:pic>
      <p:sp>
        <p:nvSpPr>
          <p:cNvPr id="10" name="Rectangle 9"/>
          <p:cNvSpPr>
            <a:spLocks noChangeArrowheads="1"/>
          </p:cNvSpPr>
          <p:nvPr userDrawn="1"/>
        </p:nvSpPr>
        <p:spPr bwMode="auto">
          <a:xfrm flipV="1">
            <a:off x="1161554" y="730639"/>
            <a:ext cx="9358782" cy="28807"/>
          </a:xfrm>
          <a:prstGeom prst="rect">
            <a:avLst/>
          </a:prstGeom>
          <a:solidFill>
            <a:srgbClr val="00419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1" name="Titre 1"/>
          <p:cNvSpPr txBox="1">
            <a:spLocks/>
          </p:cNvSpPr>
          <p:nvPr userDrawn="1"/>
        </p:nvSpPr>
        <p:spPr>
          <a:xfrm>
            <a:off x="1197154" y="222623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9863667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33B51AF-3A50-3342-8D79-F2F92F599175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83949" y="68643"/>
            <a:ext cx="1262369" cy="797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364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4" r:id="rId9"/>
    <p:sldLayoutId id="2147483785" r:id="rId10"/>
    <p:sldLayoutId id="2147483786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marL="19048" indent="0" algn="l" defTabSz="1219048" rtl="0" eaLnBrk="1" latinLnBrk="0" hangingPunct="1">
        <a:lnSpc>
          <a:spcPct val="90000"/>
        </a:lnSpc>
        <a:spcBef>
          <a:spcPct val="0"/>
        </a:spcBef>
        <a:buNone/>
        <a:tabLst/>
        <a:defRPr sz="33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2752" indent="0" algn="l" defTabSz="1219048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Arial" pitchFamily="34" charset="0"/>
        <a:buNone/>
        <a:tabLst/>
        <a:defRPr sz="1867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8541" indent="-228571" algn="l" defTabSz="1219048" rtl="0" eaLnBrk="1" latinLnBrk="0" hangingPunct="1">
        <a:lnSpc>
          <a:spcPct val="100000"/>
        </a:lnSpc>
        <a:spcBef>
          <a:spcPts val="800"/>
        </a:spcBef>
        <a:spcAft>
          <a:spcPts val="800"/>
        </a:spcAft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08511" indent="-228571" algn="l" defTabSz="121904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Wingdings" pitchFamily="2" charset="2"/>
        <a:buChar char="§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948481" indent="-228571" algn="l" defTabSz="121904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Arial" panose="020B0604020202020204" pitchFamily="34" charset="0"/>
        <a:buChar char="•"/>
        <a:defRPr sz="1067" kern="1200">
          <a:solidFill>
            <a:schemeClr val="tx1"/>
          </a:solidFill>
          <a:latin typeface="+mn-lt"/>
          <a:ea typeface="+mn-ea"/>
          <a:cs typeface="+mn-cs"/>
        </a:defRPr>
      </a:lvl4pPr>
      <a:lvl5pPr marL="1236445" indent="-228571" algn="l" defTabSz="121904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Wingdings" pitchFamily="2" charset="2"/>
        <a:buChar char="§"/>
        <a:defRPr sz="9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381" indent="-304762" algn="l" defTabSz="1219048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1905" indent="-304762" algn="l" defTabSz="1219048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6" indent="0" algn="l" defTabSz="1219048" rtl="0" eaLnBrk="1" latinLnBrk="0" hangingPunct="1">
        <a:spcBef>
          <a:spcPct val="20000"/>
        </a:spcBef>
        <a:buFont typeface="Arial" pitchFamily="34" charset="0"/>
        <a:buNone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0952" indent="-304762" algn="l" defTabSz="1219048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24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48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71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95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19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143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6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90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04">
          <p15:clr>
            <a:srgbClr val="F26B43"/>
          </p15:clr>
        </p15:guide>
        <p15:guide id="3" orient="horz" pos="73">
          <p15:clr>
            <a:srgbClr val="F26B43"/>
          </p15:clr>
        </p15:guide>
        <p15:guide id="4" orient="horz" pos="300">
          <p15:clr>
            <a:srgbClr val="F26B43"/>
          </p15:clr>
        </p15:guide>
        <p15:guide id="5" orient="horz" pos="48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7.xml"/><Relationship Id="rId1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5"/>
          <p:cNvSpPr txBox="1">
            <a:spLocks/>
          </p:cNvSpPr>
          <p:nvPr/>
        </p:nvSpPr>
        <p:spPr>
          <a:xfrm>
            <a:off x="435431" y="4040160"/>
            <a:ext cx="4563520" cy="193104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2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harte d’usage de la marque d’Etat</a:t>
            </a:r>
          </a:p>
          <a:p>
            <a:pPr algn="ctr"/>
            <a:r>
              <a:rPr lang="fr-FR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</a:p>
          <a:p>
            <a:pPr algn="ctr"/>
            <a:r>
              <a:rPr lang="fr-FR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ervices de Secours et d’aide médicale d’urgence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1666" y="3647789"/>
            <a:ext cx="4572000" cy="2694806"/>
          </a:xfrm>
          <a:prstGeom prst="rect">
            <a:avLst/>
          </a:prstGeom>
        </p:spPr>
      </p:pic>
      <p:sp>
        <p:nvSpPr>
          <p:cNvPr id="14" name="Titre 5"/>
          <p:cNvSpPr txBox="1">
            <a:spLocks/>
          </p:cNvSpPr>
          <p:nvPr/>
        </p:nvSpPr>
        <p:spPr>
          <a:xfrm>
            <a:off x="5855929" y="2560005"/>
            <a:ext cx="5387787" cy="566256"/>
          </a:xfrm>
          <a:prstGeom prst="rect">
            <a:avLst/>
          </a:prstGeom>
        </p:spPr>
        <p:txBody>
          <a:bodyPr lIns="47989" rIns="47989"/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1625519"/>
            <a:r>
              <a:rPr lang="fr-FR" sz="3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clarer, Localiser, Sauver</a:t>
            </a:r>
          </a:p>
        </p:txBody>
      </p:sp>
      <p:sp>
        <p:nvSpPr>
          <p:cNvPr id="15" name="Freeform 9"/>
          <p:cNvSpPr>
            <a:spLocks noChangeAspect="1"/>
          </p:cNvSpPr>
          <p:nvPr/>
        </p:nvSpPr>
        <p:spPr bwMode="gray">
          <a:xfrm>
            <a:off x="5941444" y="3044957"/>
            <a:ext cx="5213737" cy="162608"/>
          </a:xfrm>
          <a:custGeom>
            <a:avLst/>
            <a:gdLst>
              <a:gd name="T0" fmla="*/ 20 w 1807"/>
              <a:gd name="T1" fmla="*/ 115 h 116"/>
              <a:gd name="T2" fmla="*/ 20 w 1807"/>
              <a:gd name="T3" fmla="*/ 115 h 116"/>
              <a:gd name="T4" fmla="*/ 1398 w 1807"/>
              <a:gd name="T5" fmla="*/ 50 h 116"/>
              <a:gd name="T6" fmla="*/ 1786 w 1807"/>
              <a:gd name="T7" fmla="*/ 32 h 116"/>
              <a:gd name="T8" fmla="*/ 1786 w 1807"/>
              <a:gd name="T9" fmla="*/ 1 h 116"/>
              <a:gd name="T10" fmla="*/ 409 w 1807"/>
              <a:gd name="T11" fmla="*/ 65 h 116"/>
              <a:gd name="T12" fmla="*/ 21 w 1807"/>
              <a:gd name="T13" fmla="*/ 83 h 116"/>
              <a:gd name="T14" fmla="*/ 20 w 1807"/>
              <a:gd name="T15" fmla="*/ 115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07" h="116">
                <a:moveTo>
                  <a:pt x="20" y="115"/>
                </a:moveTo>
                <a:lnTo>
                  <a:pt x="20" y="115"/>
                </a:lnTo>
                <a:cubicBezTo>
                  <a:pt x="479" y="93"/>
                  <a:pt x="938" y="72"/>
                  <a:pt x="1398" y="50"/>
                </a:cubicBezTo>
                <a:cubicBezTo>
                  <a:pt x="1527" y="44"/>
                  <a:pt x="1656" y="38"/>
                  <a:pt x="1786" y="32"/>
                </a:cubicBezTo>
                <a:cubicBezTo>
                  <a:pt x="1806" y="31"/>
                  <a:pt x="1807" y="0"/>
                  <a:pt x="1786" y="1"/>
                </a:cubicBezTo>
                <a:cubicBezTo>
                  <a:pt x="1327" y="22"/>
                  <a:pt x="868" y="44"/>
                  <a:pt x="409" y="65"/>
                </a:cubicBezTo>
                <a:cubicBezTo>
                  <a:pt x="279" y="71"/>
                  <a:pt x="150" y="77"/>
                  <a:pt x="21" y="83"/>
                </a:cubicBezTo>
                <a:cubicBezTo>
                  <a:pt x="0" y="84"/>
                  <a:pt x="0" y="116"/>
                  <a:pt x="20" y="115"/>
                </a:cubicBezTo>
                <a:close/>
              </a:path>
            </a:pathLst>
          </a:custGeom>
          <a:solidFill>
            <a:srgbClr val="1F497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92" tIns="60945" rIns="121892" bIns="60945" numCol="1" anchor="t" anchorCtr="0" compatLnSpc="1">
            <a:prstTxWarp prst="textNoShape">
              <a:avLst/>
            </a:prstTxWarp>
          </a:bodyPr>
          <a:lstStyle/>
          <a:p>
            <a:pPr defTabSz="1219170"/>
            <a:endParaRPr lang="fr-FR" sz="24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1666" y="753445"/>
            <a:ext cx="3907648" cy="163026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007764BE-02C7-D347-925A-71726A94B06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57393" y="458250"/>
            <a:ext cx="4961376" cy="31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923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18"/>
          <p:cNvSpPr/>
          <p:nvPr>
            <p:custDataLst>
              <p:tags r:id="rId1"/>
            </p:custDataLst>
          </p:nvPr>
        </p:nvSpPr>
        <p:spPr bwMode="gray">
          <a:xfrm>
            <a:off x="476951" y="4104443"/>
            <a:ext cx="11520000" cy="1666119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0" bIns="0" rtlCol="0" anchor="ctr" anchorCtr="0">
            <a:noAutofit/>
          </a:bodyPr>
          <a:lstStyle/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endParaRPr lang="fr-FR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ZoneTexte 32"/>
          <p:cNvSpPr txBox="1"/>
          <p:nvPr/>
        </p:nvSpPr>
        <p:spPr>
          <a:xfrm>
            <a:off x="874713" y="4299969"/>
            <a:ext cx="1101248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lvl="0" indent="-177800" algn="just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fr-FR" sz="15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enter le </a:t>
            </a:r>
            <a:r>
              <a:rPr lang="fr-FR" sz="15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émoin-citoyen sauveteur vers le DAE le plus proche </a:t>
            </a:r>
            <a:r>
              <a:rPr lang="fr-FR" sz="15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s’appuyant sur les informations issues de </a:t>
            </a:r>
            <a:r>
              <a:rPr lang="fr-FR" sz="150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éo’DAE</a:t>
            </a:r>
            <a:r>
              <a:rPr lang="fr-FR" sz="15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;  </a:t>
            </a:r>
          </a:p>
          <a:p>
            <a:pPr marL="177800" indent="-177800" algn="just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fr-FR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articiper activement à l’augmentation des chances de survie </a:t>
            </a:r>
            <a:r>
              <a:rPr lang="fr-FR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lors d’un arrêt cardiaque ;</a:t>
            </a:r>
          </a:p>
          <a:p>
            <a:pPr marL="177800" indent="-177800" algn="just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fr-FR" sz="15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ibuer à l’enrichissement d’une base de données concourant à l’intérêt général,</a:t>
            </a:r>
            <a:r>
              <a:rPr lang="fr-FR" sz="15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 participant à l’augmentation du nombre de données disponibles ; </a:t>
            </a:r>
          </a:p>
          <a:p>
            <a:pPr marL="177800" indent="-177800" algn="just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fr-FR" sz="15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cupérer des informations et mettre à jour les DAE </a:t>
            </a:r>
            <a:r>
              <a:rPr lang="fr-FR" sz="15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t les données sont conformes à la réglementation.</a:t>
            </a:r>
            <a:endParaRPr lang="fr-FR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avec coins arrondis en diagonale 34">
            <a:extLst>
              <a:ext uri="{FF2B5EF4-FFF2-40B4-BE49-F238E27FC236}">
                <a16:creationId xmlns:a16="http://schemas.microsoft.com/office/drawing/2014/main" id="{E88DB530-21C2-EC48-AB99-4DFA630FA8C9}"/>
              </a:ext>
            </a:extLst>
          </p:cNvPr>
          <p:cNvSpPr/>
          <p:nvPr/>
        </p:nvSpPr>
        <p:spPr bwMode="gray">
          <a:xfrm>
            <a:off x="1149457" y="3702025"/>
            <a:ext cx="5760000" cy="468000"/>
          </a:xfrm>
          <a:prstGeom prst="round2DiagRect">
            <a:avLst/>
          </a:prstGeom>
          <a:solidFill>
            <a:srgbClr val="C00000"/>
          </a:solidFill>
          <a:ln w="38100" algn="ctr">
            <a:noFill/>
            <a:miter lim="800000"/>
            <a:headEnd/>
            <a:tailEnd/>
          </a:ln>
          <a:effectLst/>
        </p:spPr>
        <p:txBody>
          <a:bodyPr wrap="none" lIns="0" tIns="0" rIns="0" bIns="36000" rtlCol="0" anchor="ctr"/>
          <a:lstStyle/>
          <a:p>
            <a:pPr marL="355600">
              <a:tabLst>
                <a:tab pos="177800" algn="l"/>
              </a:tabLst>
            </a:pPr>
            <a:r>
              <a:rPr lang="fr-FR" sz="18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Objectifs</a:t>
            </a:r>
            <a:endParaRPr lang="fr-FR" sz="18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9" name="Rechteck 18"/>
          <p:cNvSpPr/>
          <p:nvPr>
            <p:custDataLst>
              <p:tags r:id="rId2"/>
            </p:custDataLst>
          </p:nvPr>
        </p:nvSpPr>
        <p:spPr bwMode="gray">
          <a:xfrm>
            <a:off x="477838" y="1713037"/>
            <a:ext cx="11520000" cy="1620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0" bIns="0" rtlCol="0" anchor="ctr" anchorCtr="0">
            <a:no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endParaRPr lang="fr-FR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2" name="ZoneTexte 31"/>
          <p:cNvSpPr txBox="1"/>
          <p:nvPr/>
        </p:nvSpPr>
        <p:spPr>
          <a:xfrm>
            <a:off x="874713" y="1917018"/>
            <a:ext cx="11012486" cy="12977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>
                <a:latin typeface="Arial" pitchFamily="34" charset="0"/>
              </a:rPr>
              <a:t>Le </a:t>
            </a:r>
            <a:r>
              <a:rPr lang="fr-FR" sz="1500" b="1" dirty="0">
                <a:latin typeface="Arial" pitchFamily="34" charset="0"/>
              </a:rPr>
              <a:t>Service de </a:t>
            </a:r>
            <a:r>
              <a:rPr lang="fr-FR" sz="1500" b="1" dirty="0">
                <a:latin typeface="Arial" pitchFamily="34" charset="0"/>
              </a:rPr>
              <a:t>S</a:t>
            </a:r>
            <a:r>
              <a:rPr lang="fr-FR" sz="1500" b="1" dirty="0" smtClean="0">
                <a:latin typeface="Arial" pitchFamily="34" charset="0"/>
              </a:rPr>
              <a:t>ecours et d’aide médicale d’urgence </a:t>
            </a:r>
            <a:r>
              <a:rPr lang="fr-FR" sz="1500" b="1" dirty="0">
                <a:latin typeface="Arial" pitchFamily="34" charset="0"/>
              </a:rPr>
              <a:t>est un service d'assistance immédiate portée aux personnes en détresse </a:t>
            </a:r>
            <a:r>
              <a:rPr lang="fr-FR" sz="1500" dirty="0">
                <a:latin typeface="Arial" pitchFamily="34" charset="0"/>
              </a:rPr>
              <a:t>par des professionnels rattachés à un organisme </a:t>
            </a:r>
            <a:r>
              <a:rPr lang="fr-FR" sz="1500" dirty="0" smtClean="0">
                <a:latin typeface="Arial" pitchFamily="34" charset="0"/>
              </a:rPr>
              <a:t>public ;</a:t>
            </a:r>
            <a:endParaRPr lang="fr-FR" sz="1500" dirty="0">
              <a:latin typeface="Arial" pitchFamily="34" charset="0"/>
            </a:endParaRPr>
          </a:p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>
                <a:latin typeface="Arial" pitchFamily="34" charset="0"/>
              </a:rPr>
              <a:t>En cas d’arrêt cardiaque, les Services de secours et d’aide médicale urgente sont </a:t>
            </a:r>
            <a:r>
              <a:rPr lang="fr-FR" sz="1500" b="1" dirty="0">
                <a:latin typeface="Arial" pitchFamily="34" charset="0"/>
              </a:rPr>
              <a:t>amenés à rechercher des DAE installés sur le territoire national </a:t>
            </a:r>
            <a:r>
              <a:rPr lang="fr-FR" sz="1500" dirty="0">
                <a:latin typeface="Arial" pitchFamily="34" charset="0"/>
              </a:rPr>
              <a:t>;</a:t>
            </a:r>
            <a:r>
              <a:rPr lang="fr-FR" sz="1500" b="1" dirty="0">
                <a:latin typeface="Arial" pitchFamily="34" charset="0"/>
              </a:rPr>
              <a:t> </a:t>
            </a:r>
          </a:p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>
                <a:latin typeface="Arial" pitchFamily="34" charset="0"/>
              </a:rPr>
              <a:t>Dans le cadre de </a:t>
            </a:r>
            <a:r>
              <a:rPr lang="fr-FR" sz="1500" dirty="0" err="1">
                <a:latin typeface="Arial" pitchFamily="34" charset="0"/>
              </a:rPr>
              <a:t>Géo’DAE</a:t>
            </a:r>
            <a:r>
              <a:rPr lang="fr-FR" sz="1500" dirty="0">
                <a:latin typeface="Arial" pitchFamily="34" charset="0"/>
              </a:rPr>
              <a:t>, les Services de secours et d’aide médicale urgente sont représentés par les </a:t>
            </a:r>
            <a:r>
              <a:rPr lang="fr-FR" sz="1500" b="1" dirty="0">
                <a:latin typeface="Arial" pitchFamily="34" charset="0"/>
              </a:rPr>
              <a:t>SIS et SAMU</a:t>
            </a:r>
            <a:r>
              <a:rPr lang="fr-FR" sz="1500" dirty="0">
                <a:latin typeface="Arial" pitchFamily="34" charset="0"/>
              </a:rPr>
              <a:t>.</a:t>
            </a:r>
          </a:p>
        </p:txBody>
      </p:sp>
      <p:sp>
        <p:nvSpPr>
          <p:cNvPr id="34" name="Rectangle avec coins arrondis en diagonale 33">
            <a:extLst>
              <a:ext uri="{FF2B5EF4-FFF2-40B4-BE49-F238E27FC236}">
                <a16:creationId xmlns:a16="http://schemas.microsoft.com/office/drawing/2014/main" id="{E88DB530-21C2-EC48-AB99-4DFA630FA8C9}"/>
              </a:ext>
            </a:extLst>
          </p:cNvPr>
          <p:cNvSpPr/>
          <p:nvPr/>
        </p:nvSpPr>
        <p:spPr bwMode="gray">
          <a:xfrm>
            <a:off x="1145099" y="1317765"/>
            <a:ext cx="5760000" cy="468000"/>
          </a:xfrm>
          <a:prstGeom prst="round2DiagRect">
            <a:avLst/>
          </a:prstGeom>
          <a:solidFill>
            <a:srgbClr val="1F497D"/>
          </a:solidFill>
          <a:ln w="38100" algn="ctr">
            <a:noFill/>
            <a:miter lim="800000"/>
            <a:headEnd/>
            <a:tailEnd/>
          </a:ln>
          <a:effectLst/>
        </p:spPr>
        <p:txBody>
          <a:bodyPr wrap="none" lIns="0" tIns="0" rIns="0" bIns="36000" rtlCol="0" anchor="ctr"/>
          <a:lstStyle/>
          <a:p>
            <a:pPr marL="355600">
              <a:tabLst>
                <a:tab pos="177800" algn="l"/>
              </a:tabLst>
            </a:pPr>
            <a:r>
              <a:rPr lang="fr-FR" sz="18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Définition</a:t>
            </a:r>
            <a:endParaRPr lang="fr-FR" sz="18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638271" y="217646"/>
            <a:ext cx="8305800" cy="39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’est-ce qu’un Service de Secours et d’aide médicale </a:t>
            </a:r>
            <a:r>
              <a:rPr lang="fr-FR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’urgence </a:t>
            </a:r>
            <a:r>
              <a:rPr lang="fr-FR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 Quels sont les objectifs ? </a:t>
            </a:r>
            <a:endParaRPr lang="fr-FR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Espace réservé du numéro de diapositive 1"/>
          <p:cNvSpPr>
            <a:spLocks noGrp="1"/>
          </p:cNvSpPr>
          <p:nvPr>
            <p:ph type="sldNum" sz="quarter" idx="12"/>
          </p:nvPr>
        </p:nvSpPr>
        <p:spPr>
          <a:xfrm>
            <a:off x="9863667" y="6509982"/>
            <a:ext cx="1799766" cy="360000"/>
          </a:xfrm>
        </p:spPr>
        <p:txBody>
          <a:bodyPr anchor="ctr"/>
          <a:lstStyle/>
          <a:p>
            <a:pPr algn="r" defTabSz="1219048">
              <a:buClrTx/>
              <a:buSzTx/>
              <a:defRPr/>
            </a:pPr>
            <a:fld id="{733122C9-A0B9-462F-8757-0847AD287B63}" type="slidenum">
              <a:rPr lang="fr-FR" sz="1050">
                <a:solidFill>
                  <a:srgbClr val="FFFFFF"/>
                </a:solidFill>
                <a:latin typeface="Arial"/>
                <a:ea typeface="+mn-ea"/>
                <a:cs typeface="+mn-cs"/>
              </a:rPr>
              <a:pPr algn="r" defTabSz="1219048">
                <a:buClrTx/>
                <a:buSzTx/>
                <a:defRPr/>
              </a:pPr>
              <a:t>2</a:t>
            </a:fld>
            <a:endParaRPr lang="fr-FR" sz="1050" dirty="0">
              <a:solidFill>
                <a:srgbClr val="FFFFFF"/>
              </a:solidFill>
              <a:latin typeface="Arial"/>
              <a:ea typeface="+mn-ea"/>
              <a:cs typeface="+mn-cs"/>
            </a:endParaRPr>
          </a:p>
        </p:txBody>
      </p:sp>
      <p:grpSp>
        <p:nvGrpSpPr>
          <p:cNvPr id="15" name="Gruppieren 27">
            <a:extLst>
              <a:ext uri="{FF2B5EF4-FFF2-40B4-BE49-F238E27FC236}">
                <a16:creationId xmlns:a16="http://schemas.microsoft.com/office/drawing/2014/main" id="{A86C02A6-7A47-0643-9605-75F8102EDFBA}"/>
              </a:ext>
            </a:extLst>
          </p:cNvPr>
          <p:cNvGrpSpPr>
            <a:grpSpLocks noChangeAspect="1"/>
          </p:cNvGrpSpPr>
          <p:nvPr/>
        </p:nvGrpSpPr>
        <p:grpSpPr>
          <a:xfrm>
            <a:off x="315144" y="1073598"/>
            <a:ext cx="972002" cy="972000"/>
            <a:chOff x="7502618" y="1206411"/>
            <a:chExt cx="650014" cy="650013"/>
          </a:xfrm>
          <a:solidFill>
            <a:srgbClr val="E97B7B"/>
          </a:solidFill>
        </p:grpSpPr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3F79BEB0-6F7D-FA4B-80AB-E09E16CD7EF4}"/>
                </a:ext>
              </a:extLst>
            </p:cNvPr>
            <p:cNvSpPr/>
            <p:nvPr/>
          </p:nvSpPr>
          <p:spPr bwMode="gray">
            <a:xfrm>
              <a:off x="7502618" y="1206412"/>
              <a:ext cx="487510" cy="487510"/>
            </a:xfrm>
            <a:prstGeom prst="ellipse">
              <a:avLst/>
            </a:prstGeom>
            <a:grpFill/>
            <a:ln w="15240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D910C680-A94C-6A4A-A1C0-68776357678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502619" y="1206411"/>
              <a:ext cx="650013" cy="650013"/>
            </a:xfrm>
            <a:prstGeom prst="ellipse">
              <a:avLst/>
            </a:prstGeom>
            <a:solidFill>
              <a:srgbClr val="1F497D"/>
            </a:solidFill>
            <a:ln w="571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fr-CA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grpSp>
        <p:nvGrpSpPr>
          <p:cNvPr id="26" name="Gruppieren 27">
            <a:extLst>
              <a:ext uri="{FF2B5EF4-FFF2-40B4-BE49-F238E27FC236}">
                <a16:creationId xmlns:a16="http://schemas.microsoft.com/office/drawing/2014/main" id="{A86C02A6-7A47-0643-9605-75F8102EDFBA}"/>
              </a:ext>
            </a:extLst>
          </p:cNvPr>
          <p:cNvGrpSpPr>
            <a:grpSpLocks noChangeAspect="1"/>
          </p:cNvGrpSpPr>
          <p:nvPr/>
        </p:nvGrpSpPr>
        <p:grpSpPr>
          <a:xfrm>
            <a:off x="297825" y="3509396"/>
            <a:ext cx="972002" cy="972000"/>
            <a:chOff x="7502618" y="1206411"/>
            <a:chExt cx="650014" cy="650013"/>
          </a:xfrm>
          <a:solidFill>
            <a:srgbClr val="C00000"/>
          </a:solidFill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3F79BEB0-6F7D-FA4B-80AB-E09E16CD7EF4}"/>
                </a:ext>
              </a:extLst>
            </p:cNvPr>
            <p:cNvSpPr/>
            <p:nvPr/>
          </p:nvSpPr>
          <p:spPr bwMode="gray">
            <a:xfrm>
              <a:off x="7502618" y="1206412"/>
              <a:ext cx="487510" cy="487510"/>
            </a:xfrm>
            <a:prstGeom prst="ellipse">
              <a:avLst/>
            </a:prstGeom>
            <a:grpFill/>
            <a:ln w="15240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D910C680-A94C-6A4A-A1C0-68776357678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502619" y="1206411"/>
              <a:ext cx="650013" cy="650013"/>
            </a:xfrm>
            <a:prstGeom prst="ellipse">
              <a:avLst/>
            </a:prstGeom>
            <a:grpFill/>
            <a:ln w="571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fr-CA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sp>
        <p:nvSpPr>
          <p:cNvPr id="11" name="Freeform 60">
            <a:extLst>
              <a:ext uri="{FF2B5EF4-FFF2-40B4-BE49-F238E27FC236}">
                <a16:creationId xmlns:a16="http://schemas.microsoft.com/office/drawing/2014/main" id="{9FBAE125-B7F4-3E46-BE5A-44777A3DB369}"/>
              </a:ext>
            </a:extLst>
          </p:cNvPr>
          <p:cNvSpPr>
            <a:spLocks noChangeAspect="1"/>
          </p:cNvSpPr>
          <p:nvPr/>
        </p:nvSpPr>
        <p:spPr>
          <a:xfrm>
            <a:off x="438161" y="3644114"/>
            <a:ext cx="684000" cy="678698"/>
          </a:xfrm>
          <a:custGeom>
            <a:avLst/>
            <a:gdLst>
              <a:gd name="connsiteX0" fmla="*/ 340988 w 345367"/>
              <a:gd name="connsiteY0" fmla="*/ 166981 h 342688"/>
              <a:gd name="connsiteX1" fmla="*/ 312753 w 345367"/>
              <a:gd name="connsiteY1" fmla="*/ 166981 h 342688"/>
              <a:gd name="connsiteX2" fmla="*/ 177103 w 345367"/>
              <a:gd name="connsiteY2" fmla="*/ 32378 h 342688"/>
              <a:gd name="connsiteX3" fmla="*/ 177103 w 345367"/>
              <a:gd name="connsiteY3" fmla="*/ 4362 h 342688"/>
              <a:gd name="connsiteX4" fmla="*/ 172702 w 345367"/>
              <a:gd name="connsiteY4" fmla="*/ 0 h 342688"/>
              <a:gd name="connsiteX5" fmla="*/ 168308 w 345367"/>
              <a:gd name="connsiteY5" fmla="*/ 4362 h 342688"/>
              <a:gd name="connsiteX6" fmla="*/ 168308 w 345367"/>
              <a:gd name="connsiteY6" fmla="*/ 32378 h 342688"/>
              <a:gd name="connsiteX7" fmla="*/ 32651 w 345367"/>
              <a:gd name="connsiteY7" fmla="*/ 166981 h 342688"/>
              <a:gd name="connsiteX8" fmla="*/ 4416 w 345367"/>
              <a:gd name="connsiteY8" fmla="*/ 166981 h 342688"/>
              <a:gd name="connsiteX9" fmla="*/ 0 w 345367"/>
              <a:gd name="connsiteY9" fmla="*/ 171326 h 342688"/>
              <a:gd name="connsiteX10" fmla="*/ 4380 w 345367"/>
              <a:gd name="connsiteY10" fmla="*/ 175707 h 342688"/>
              <a:gd name="connsiteX11" fmla="*/ 4416 w 345367"/>
              <a:gd name="connsiteY11" fmla="*/ 175707 h 342688"/>
              <a:gd name="connsiteX12" fmla="*/ 32651 w 345367"/>
              <a:gd name="connsiteY12" fmla="*/ 175707 h 342688"/>
              <a:gd name="connsiteX13" fmla="*/ 168308 w 345367"/>
              <a:gd name="connsiteY13" fmla="*/ 310307 h 342688"/>
              <a:gd name="connsiteX14" fmla="*/ 168308 w 345367"/>
              <a:gd name="connsiteY14" fmla="*/ 338327 h 342688"/>
              <a:gd name="connsiteX15" fmla="*/ 172702 w 345367"/>
              <a:gd name="connsiteY15" fmla="*/ 342689 h 342688"/>
              <a:gd name="connsiteX16" fmla="*/ 177103 w 345367"/>
              <a:gd name="connsiteY16" fmla="*/ 338327 h 342688"/>
              <a:gd name="connsiteX17" fmla="*/ 177103 w 345367"/>
              <a:gd name="connsiteY17" fmla="*/ 310307 h 342688"/>
              <a:gd name="connsiteX18" fmla="*/ 312753 w 345367"/>
              <a:gd name="connsiteY18" fmla="*/ 175708 h 342688"/>
              <a:gd name="connsiteX19" fmla="*/ 340988 w 345367"/>
              <a:gd name="connsiteY19" fmla="*/ 175708 h 342688"/>
              <a:gd name="connsiteX20" fmla="*/ 345367 w 345367"/>
              <a:gd name="connsiteY20" fmla="*/ 171327 h 342688"/>
              <a:gd name="connsiteX21" fmla="*/ 340988 w 345367"/>
              <a:gd name="connsiteY21" fmla="*/ 166981 h 342688"/>
              <a:gd name="connsiteX22" fmla="*/ 303964 w 345367"/>
              <a:gd name="connsiteY22" fmla="*/ 166981 h 342688"/>
              <a:gd name="connsiteX23" fmla="*/ 257320 w 345367"/>
              <a:gd name="connsiteY23" fmla="*/ 166981 h 342688"/>
              <a:gd name="connsiteX24" fmla="*/ 177103 w 345367"/>
              <a:gd name="connsiteY24" fmla="*/ 87388 h 342688"/>
              <a:gd name="connsiteX25" fmla="*/ 177103 w 345367"/>
              <a:gd name="connsiteY25" fmla="*/ 41104 h 342688"/>
              <a:gd name="connsiteX26" fmla="*/ 303964 w 345367"/>
              <a:gd name="connsiteY26" fmla="*/ 166981 h 342688"/>
              <a:gd name="connsiteX27" fmla="*/ 172702 w 345367"/>
              <a:gd name="connsiteY27" fmla="*/ 193641 h 342688"/>
              <a:gd name="connsiteX28" fmla="*/ 150231 w 345367"/>
              <a:gd name="connsiteY28" fmla="*/ 171344 h 342688"/>
              <a:gd name="connsiteX29" fmla="*/ 172702 w 345367"/>
              <a:gd name="connsiteY29" fmla="*/ 149048 h 342688"/>
              <a:gd name="connsiteX30" fmla="*/ 195172 w 345367"/>
              <a:gd name="connsiteY30" fmla="*/ 171344 h 342688"/>
              <a:gd name="connsiteX31" fmla="*/ 172702 w 345367"/>
              <a:gd name="connsiteY31" fmla="*/ 193641 h 342688"/>
              <a:gd name="connsiteX32" fmla="*/ 168453 w 345367"/>
              <a:gd name="connsiteY32" fmla="*/ 140746 h 342688"/>
              <a:gd name="connsiteX33" fmla="*/ 141864 w 345367"/>
              <a:gd name="connsiteY33" fmla="*/ 167132 h 342688"/>
              <a:gd name="connsiteX34" fmla="*/ 141102 w 345367"/>
              <a:gd name="connsiteY34" fmla="*/ 166981 h 342688"/>
              <a:gd name="connsiteX35" fmla="*/ 96879 w 345367"/>
              <a:gd name="connsiteY35" fmla="*/ 166981 h 342688"/>
              <a:gd name="connsiteX36" fmla="*/ 168308 w 345367"/>
              <a:gd name="connsiteY36" fmla="*/ 96111 h 342688"/>
              <a:gd name="connsiteX37" fmla="*/ 168308 w 345367"/>
              <a:gd name="connsiteY37" fmla="*/ 140012 h 342688"/>
              <a:gd name="connsiteX38" fmla="*/ 168453 w 345367"/>
              <a:gd name="connsiteY38" fmla="*/ 140746 h 342688"/>
              <a:gd name="connsiteX39" fmla="*/ 141102 w 345367"/>
              <a:gd name="connsiteY39" fmla="*/ 175707 h 342688"/>
              <a:gd name="connsiteX40" fmla="*/ 141864 w 345367"/>
              <a:gd name="connsiteY40" fmla="*/ 175552 h 342688"/>
              <a:gd name="connsiteX41" fmla="*/ 168308 w 345367"/>
              <a:gd name="connsiteY41" fmla="*/ 201925 h 342688"/>
              <a:gd name="connsiteX42" fmla="*/ 168308 w 345367"/>
              <a:gd name="connsiteY42" fmla="*/ 246578 h 342688"/>
              <a:gd name="connsiteX43" fmla="*/ 96879 w 345367"/>
              <a:gd name="connsiteY43" fmla="*/ 175708 h 342688"/>
              <a:gd name="connsiteX44" fmla="*/ 177103 w 345367"/>
              <a:gd name="connsiteY44" fmla="*/ 201925 h 342688"/>
              <a:gd name="connsiteX45" fmla="*/ 203525 w 345367"/>
              <a:gd name="connsiteY45" fmla="*/ 175662 h 342688"/>
              <a:gd name="connsiteX46" fmla="*/ 203757 w 345367"/>
              <a:gd name="connsiteY46" fmla="*/ 175707 h 342688"/>
              <a:gd name="connsiteX47" fmla="*/ 248524 w 345367"/>
              <a:gd name="connsiteY47" fmla="*/ 175707 h 342688"/>
              <a:gd name="connsiteX48" fmla="*/ 177103 w 345367"/>
              <a:gd name="connsiteY48" fmla="*/ 246574 h 342688"/>
              <a:gd name="connsiteX49" fmla="*/ 203757 w 345367"/>
              <a:gd name="connsiteY49" fmla="*/ 166981 h 342688"/>
              <a:gd name="connsiteX50" fmla="*/ 203525 w 345367"/>
              <a:gd name="connsiteY50" fmla="*/ 167027 h 342688"/>
              <a:gd name="connsiteX51" fmla="*/ 176951 w 345367"/>
              <a:gd name="connsiteY51" fmla="*/ 140746 h 342688"/>
              <a:gd name="connsiteX52" fmla="*/ 177103 w 345367"/>
              <a:gd name="connsiteY52" fmla="*/ 140013 h 342688"/>
              <a:gd name="connsiteX53" fmla="*/ 177103 w 345367"/>
              <a:gd name="connsiteY53" fmla="*/ 96111 h 342688"/>
              <a:gd name="connsiteX54" fmla="*/ 248524 w 345367"/>
              <a:gd name="connsiteY54" fmla="*/ 166982 h 342688"/>
              <a:gd name="connsiteX55" fmla="*/ 168308 w 345367"/>
              <a:gd name="connsiteY55" fmla="*/ 41104 h 342688"/>
              <a:gd name="connsiteX56" fmla="*/ 168308 w 345367"/>
              <a:gd name="connsiteY56" fmla="*/ 87388 h 342688"/>
              <a:gd name="connsiteX57" fmla="*/ 88091 w 345367"/>
              <a:gd name="connsiteY57" fmla="*/ 166981 h 342688"/>
              <a:gd name="connsiteX58" fmla="*/ 41446 w 345367"/>
              <a:gd name="connsiteY58" fmla="*/ 166981 h 342688"/>
              <a:gd name="connsiteX59" fmla="*/ 168308 w 345367"/>
              <a:gd name="connsiteY59" fmla="*/ 41104 h 342688"/>
              <a:gd name="connsiteX60" fmla="*/ 41446 w 345367"/>
              <a:gd name="connsiteY60" fmla="*/ 175708 h 342688"/>
              <a:gd name="connsiteX61" fmla="*/ 88091 w 345367"/>
              <a:gd name="connsiteY61" fmla="*/ 175708 h 342688"/>
              <a:gd name="connsiteX62" fmla="*/ 168308 w 345367"/>
              <a:gd name="connsiteY62" fmla="*/ 255301 h 342688"/>
              <a:gd name="connsiteX63" fmla="*/ 168308 w 345367"/>
              <a:gd name="connsiteY63" fmla="*/ 301581 h 342688"/>
              <a:gd name="connsiteX64" fmla="*/ 41446 w 345367"/>
              <a:gd name="connsiteY64" fmla="*/ 175708 h 342688"/>
              <a:gd name="connsiteX65" fmla="*/ 177103 w 345367"/>
              <a:gd name="connsiteY65" fmla="*/ 301581 h 342688"/>
              <a:gd name="connsiteX66" fmla="*/ 177103 w 345367"/>
              <a:gd name="connsiteY66" fmla="*/ 255301 h 342688"/>
              <a:gd name="connsiteX67" fmla="*/ 257320 w 345367"/>
              <a:gd name="connsiteY67" fmla="*/ 175708 h 342688"/>
              <a:gd name="connsiteX68" fmla="*/ 303964 w 345367"/>
              <a:gd name="connsiteY68" fmla="*/ 175707 h 342688"/>
              <a:gd name="connsiteX69" fmla="*/ 177103 w 345367"/>
              <a:gd name="connsiteY69" fmla="*/ 301581 h 342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345367" h="342688">
                <a:moveTo>
                  <a:pt x="340988" y="166981"/>
                </a:moveTo>
                <a:lnTo>
                  <a:pt x="312753" y="166981"/>
                </a:lnTo>
                <a:cubicBezTo>
                  <a:pt x="310367" y="93645"/>
                  <a:pt x="251011" y="34745"/>
                  <a:pt x="177103" y="32378"/>
                </a:cubicBezTo>
                <a:lnTo>
                  <a:pt x="177103" y="4362"/>
                </a:lnTo>
                <a:cubicBezTo>
                  <a:pt x="177103" y="1953"/>
                  <a:pt x="175131" y="0"/>
                  <a:pt x="172702" y="0"/>
                </a:cubicBezTo>
                <a:cubicBezTo>
                  <a:pt x="170273" y="0"/>
                  <a:pt x="168308" y="1953"/>
                  <a:pt x="168308" y="4362"/>
                </a:cubicBezTo>
                <a:lnTo>
                  <a:pt x="168308" y="32378"/>
                </a:lnTo>
                <a:cubicBezTo>
                  <a:pt x="94400" y="34744"/>
                  <a:pt x="35037" y="93644"/>
                  <a:pt x="32651" y="166981"/>
                </a:cubicBezTo>
                <a:lnTo>
                  <a:pt x="4416" y="166981"/>
                </a:lnTo>
                <a:cubicBezTo>
                  <a:pt x="1987" y="166971"/>
                  <a:pt x="8" y="168917"/>
                  <a:pt x="0" y="171326"/>
                </a:cubicBezTo>
                <a:cubicBezTo>
                  <a:pt x="-7" y="173736"/>
                  <a:pt x="1951" y="175698"/>
                  <a:pt x="4380" y="175707"/>
                </a:cubicBezTo>
                <a:cubicBezTo>
                  <a:pt x="4394" y="175707"/>
                  <a:pt x="4402" y="175707"/>
                  <a:pt x="4416" y="175707"/>
                </a:cubicBezTo>
                <a:lnTo>
                  <a:pt x="32651" y="175707"/>
                </a:lnTo>
                <a:cubicBezTo>
                  <a:pt x="35037" y="249043"/>
                  <a:pt x="94400" y="307942"/>
                  <a:pt x="168308" y="310307"/>
                </a:cubicBezTo>
                <a:lnTo>
                  <a:pt x="168308" y="338327"/>
                </a:lnTo>
                <a:cubicBezTo>
                  <a:pt x="168308" y="340735"/>
                  <a:pt x="170273" y="342689"/>
                  <a:pt x="172702" y="342689"/>
                </a:cubicBezTo>
                <a:cubicBezTo>
                  <a:pt x="175131" y="342689"/>
                  <a:pt x="177103" y="340735"/>
                  <a:pt x="177103" y="338327"/>
                </a:cubicBezTo>
                <a:lnTo>
                  <a:pt x="177103" y="310307"/>
                </a:lnTo>
                <a:cubicBezTo>
                  <a:pt x="251011" y="307942"/>
                  <a:pt x="310367" y="249043"/>
                  <a:pt x="312753" y="175708"/>
                </a:cubicBezTo>
                <a:lnTo>
                  <a:pt x="340988" y="175708"/>
                </a:lnTo>
                <a:cubicBezTo>
                  <a:pt x="343417" y="175698"/>
                  <a:pt x="345382" y="173736"/>
                  <a:pt x="345367" y="171327"/>
                </a:cubicBezTo>
                <a:cubicBezTo>
                  <a:pt x="345360" y="168930"/>
                  <a:pt x="343402" y="166991"/>
                  <a:pt x="340988" y="166981"/>
                </a:cubicBezTo>
                <a:close/>
                <a:moveTo>
                  <a:pt x="303964" y="166981"/>
                </a:moveTo>
                <a:lnTo>
                  <a:pt x="257320" y="166981"/>
                </a:lnTo>
                <a:cubicBezTo>
                  <a:pt x="255029" y="123998"/>
                  <a:pt x="220420" y="89658"/>
                  <a:pt x="177103" y="87388"/>
                </a:cubicBezTo>
                <a:lnTo>
                  <a:pt x="177103" y="41104"/>
                </a:lnTo>
                <a:cubicBezTo>
                  <a:pt x="246161" y="43459"/>
                  <a:pt x="301586" y="98460"/>
                  <a:pt x="303964" y="166981"/>
                </a:cubicBezTo>
                <a:close/>
                <a:moveTo>
                  <a:pt x="172702" y="193641"/>
                </a:moveTo>
                <a:cubicBezTo>
                  <a:pt x="160288" y="193641"/>
                  <a:pt x="150231" y="183658"/>
                  <a:pt x="150231" y="171344"/>
                </a:cubicBezTo>
                <a:cubicBezTo>
                  <a:pt x="150231" y="159030"/>
                  <a:pt x="160288" y="149048"/>
                  <a:pt x="172702" y="149048"/>
                </a:cubicBezTo>
                <a:cubicBezTo>
                  <a:pt x="185115" y="149048"/>
                  <a:pt x="195172" y="159030"/>
                  <a:pt x="195172" y="171344"/>
                </a:cubicBezTo>
                <a:cubicBezTo>
                  <a:pt x="195158" y="183652"/>
                  <a:pt x="185108" y="193626"/>
                  <a:pt x="172702" y="193641"/>
                </a:cubicBezTo>
                <a:close/>
                <a:moveTo>
                  <a:pt x="168453" y="140746"/>
                </a:moveTo>
                <a:cubicBezTo>
                  <a:pt x="154633" y="142638"/>
                  <a:pt x="143771" y="153420"/>
                  <a:pt x="141864" y="167132"/>
                </a:cubicBezTo>
                <a:cubicBezTo>
                  <a:pt x="141617" y="167058"/>
                  <a:pt x="141363" y="167008"/>
                  <a:pt x="141102" y="166981"/>
                </a:cubicBezTo>
                <a:lnTo>
                  <a:pt x="96879" y="166981"/>
                </a:lnTo>
                <a:cubicBezTo>
                  <a:pt x="99149" y="128809"/>
                  <a:pt x="129834" y="98357"/>
                  <a:pt x="168308" y="96111"/>
                </a:cubicBezTo>
                <a:lnTo>
                  <a:pt x="168308" y="140012"/>
                </a:lnTo>
                <a:cubicBezTo>
                  <a:pt x="168337" y="140261"/>
                  <a:pt x="168380" y="140507"/>
                  <a:pt x="168453" y="140746"/>
                </a:cubicBezTo>
                <a:close/>
                <a:moveTo>
                  <a:pt x="141102" y="175707"/>
                </a:moveTo>
                <a:cubicBezTo>
                  <a:pt x="141363" y="175679"/>
                  <a:pt x="141617" y="175627"/>
                  <a:pt x="141864" y="175552"/>
                </a:cubicBezTo>
                <a:cubicBezTo>
                  <a:pt x="143756" y="189214"/>
                  <a:pt x="154546" y="199976"/>
                  <a:pt x="168308" y="201925"/>
                </a:cubicBezTo>
                <a:lnTo>
                  <a:pt x="168308" y="246578"/>
                </a:lnTo>
                <a:cubicBezTo>
                  <a:pt x="129834" y="244332"/>
                  <a:pt x="99149" y="213879"/>
                  <a:pt x="96879" y="175708"/>
                </a:cubicBezTo>
                <a:close/>
                <a:moveTo>
                  <a:pt x="177103" y="201925"/>
                </a:moveTo>
                <a:cubicBezTo>
                  <a:pt x="190815" y="199980"/>
                  <a:pt x="201589" y="189275"/>
                  <a:pt x="203525" y="175662"/>
                </a:cubicBezTo>
                <a:cubicBezTo>
                  <a:pt x="203605" y="175665"/>
                  <a:pt x="203678" y="175707"/>
                  <a:pt x="203757" y="175707"/>
                </a:cubicBezTo>
                <a:lnTo>
                  <a:pt x="248524" y="175707"/>
                </a:lnTo>
                <a:cubicBezTo>
                  <a:pt x="246255" y="213877"/>
                  <a:pt x="215569" y="244328"/>
                  <a:pt x="177103" y="246574"/>
                </a:cubicBezTo>
                <a:close/>
                <a:moveTo>
                  <a:pt x="203757" y="166981"/>
                </a:moveTo>
                <a:cubicBezTo>
                  <a:pt x="203678" y="166981"/>
                  <a:pt x="203605" y="167023"/>
                  <a:pt x="203525" y="167027"/>
                </a:cubicBezTo>
                <a:cubicBezTo>
                  <a:pt x="201582" y="153359"/>
                  <a:pt x="190727" y="142633"/>
                  <a:pt x="176951" y="140746"/>
                </a:cubicBezTo>
                <a:cubicBezTo>
                  <a:pt x="177023" y="140507"/>
                  <a:pt x="177074" y="140261"/>
                  <a:pt x="177103" y="140013"/>
                </a:cubicBezTo>
                <a:lnTo>
                  <a:pt x="177103" y="96111"/>
                </a:lnTo>
                <a:cubicBezTo>
                  <a:pt x="215569" y="98360"/>
                  <a:pt x="246255" y="128811"/>
                  <a:pt x="248524" y="166982"/>
                </a:cubicBezTo>
                <a:close/>
                <a:moveTo>
                  <a:pt x="168308" y="41104"/>
                </a:moveTo>
                <a:lnTo>
                  <a:pt x="168308" y="87388"/>
                </a:lnTo>
                <a:cubicBezTo>
                  <a:pt x="124984" y="89656"/>
                  <a:pt x="90375" y="123997"/>
                  <a:pt x="88091" y="166981"/>
                </a:cubicBezTo>
                <a:lnTo>
                  <a:pt x="41446" y="166981"/>
                </a:lnTo>
                <a:cubicBezTo>
                  <a:pt x="43817" y="98460"/>
                  <a:pt x="99250" y="43458"/>
                  <a:pt x="168308" y="41104"/>
                </a:cubicBezTo>
                <a:close/>
                <a:moveTo>
                  <a:pt x="41446" y="175708"/>
                </a:moveTo>
                <a:lnTo>
                  <a:pt x="88091" y="175708"/>
                </a:lnTo>
                <a:cubicBezTo>
                  <a:pt x="90375" y="218691"/>
                  <a:pt x="124984" y="253032"/>
                  <a:pt x="168308" y="255301"/>
                </a:cubicBezTo>
                <a:lnTo>
                  <a:pt x="168308" y="301581"/>
                </a:lnTo>
                <a:cubicBezTo>
                  <a:pt x="99250" y="299231"/>
                  <a:pt x="43817" y="244229"/>
                  <a:pt x="41446" y="175708"/>
                </a:cubicBezTo>
                <a:close/>
                <a:moveTo>
                  <a:pt x="177103" y="301581"/>
                </a:moveTo>
                <a:lnTo>
                  <a:pt x="177103" y="255301"/>
                </a:lnTo>
                <a:cubicBezTo>
                  <a:pt x="220420" y="253031"/>
                  <a:pt x="255029" y="218690"/>
                  <a:pt x="257320" y="175708"/>
                </a:cubicBezTo>
                <a:lnTo>
                  <a:pt x="303964" y="175707"/>
                </a:lnTo>
                <a:cubicBezTo>
                  <a:pt x="301586" y="244227"/>
                  <a:pt x="246153" y="299227"/>
                  <a:pt x="177103" y="301581"/>
                </a:cubicBezTo>
                <a:close/>
              </a:path>
            </a:pathLst>
          </a:custGeom>
          <a:solidFill>
            <a:schemeClr val="bg1"/>
          </a:solidFill>
          <a:ln w="72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23" name="Group 1182">
            <a:extLst>
              <a:ext uri="{FF2B5EF4-FFF2-40B4-BE49-F238E27FC236}">
                <a16:creationId xmlns:a16="http://schemas.microsoft.com/office/drawing/2014/main" id="{5FDFEB1D-25BC-4D4B-B2BA-EB4472942B60}"/>
              </a:ext>
            </a:extLst>
          </p:cNvPr>
          <p:cNvGrpSpPr>
            <a:grpSpLocks noChangeAspect="1"/>
          </p:cNvGrpSpPr>
          <p:nvPr/>
        </p:nvGrpSpPr>
        <p:grpSpPr>
          <a:xfrm>
            <a:off x="428424" y="1338654"/>
            <a:ext cx="729920" cy="432000"/>
            <a:chOff x="1486666" y="3380815"/>
            <a:chExt cx="363979" cy="215419"/>
          </a:xfrm>
          <a:solidFill>
            <a:schemeClr val="bg1"/>
          </a:solidFill>
        </p:grpSpPr>
        <p:sp>
          <p:nvSpPr>
            <p:cNvPr id="25" name="Freeform 27">
              <a:extLst>
                <a:ext uri="{FF2B5EF4-FFF2-40B4-BE49-F238E27FC236}">
                  <a16:creationId xmlns:a16="http://schemas.microsoft.com/office/drawing/2014/main" id="{380CAC1D-CE3A-9E4D-A9BE-F519F6E183E8}"/>
                </a:ext>
              </a:extLst>
            </p:cNvPr>
            <p:cNvSpPr/>
            <p:nvPr/>
          </p:nvSpPr>
          <p:spPr>
            <a:xfrm>
              <a:off x="1582737" y="3427821"/>
              <a:ext cx="82915" cy="82635"/>
            </a:xfrm>
            <a:custGeom>
              <a:avLst/>
              <a:gdLst>
                <a:gd name="connsiteX0" fmla="*/ 78512 w 82915"/>
                <a:gd name="connsiteY0" fmla="*/ 26025 h 82635"/>
                <a:gd name="connsiteX1" fmla="*/ 56808 w 82915"/>
                <a:gd name="connsiteY1" fmla="*/ 26025 h 82635"/>
                <a:gd name="connsiteX2" fmla="*/ 56808 w 82915"/>
                <a:gd name="connsiteY2" fmla="*/ 4395 h 82635"/>
                <a:gd name="connsiteX3" fmla="*/ 52397 w 82915"/>
                <a:gd name="connsiteY3" fmla="*/ 0 h 82635"/>
                <a:gd name="connsiteX4" fmla="*/ 30518 w 82915"/>
                <a:gd name="connsiteY4" fmla="*/ 0 h 82635"/>
                <a:gd name="connsiteX5" fmla="*/ 26115 w 82915"/>
                <a:gd name="connsiteY5" fmla="*/ 4395 h 82635"/>
                <a:gd name="connsiteX6" fmla="*/ 26115 w 82915"/>
                <a:gd name="connsiteY6" fmla="*/ 26025 h 82635"/>
                <a:gd name="connsiteX7" fmla="*/ 4403 w 82915"/>
                <a:gd name="connsiteY7" fmla="*/ 26025 h 82635"/>
                <a:gd name="connsiteX8" fmla="*/ 0 w 82915"/>
                <a:gd name="connsiteY8" fmla="*/ 30413 h 82635"/>
                <a:gd name="connsiteX9" fmla="*/ 0 w 82915"/>
                <a:gd name="connsiteY9" fmla="*/ 52223 h 82635"/>
                <a:gd name="connsiteX10" fmla="*/ 4403 w 82915"/>
                <a:gd name="connsiteY10" fmla="*/ 56611 h 82635"/>
                <a:gd name="connsiteX11" fmla="*/ 26115 w 82915"/>
                <a:gd name="connsiteY11" fmla="*/ 56611 h 82635"/>
                <a:gd name="connsiteX12" fmla="*/ 26115 w 82915"/>
                <a:gd name="connsiteY12" fmla="*/ 78241 h 82635"/>
                <a:gd name="connsiteX13" fmla="*/ 30518 w 82915"/>
                <a:gd name="connsiteY13" fmla="*/ 82636 h 82635"/>
                <a:gd name="connsiteX14" fmla="*/ 52397 w 82915"/>
                <a:gd name="connsiteY14" fmla="*/ 82636 h 82635"/>
                <a:gd name="connsiteX15" fmla="*/ 56808 w 82915"/>
                <a:gd name="connsiteY15" fmla="*/ 78241 h 82635"/>
                <a:gd name="connsiteX16" fmla="*/ 56808 w 82915"/>
                <a:gd name="connsiteY16" fmla="*/ 56611 h 82635"/>
                <a:gd name="connsiteX17" fmla="*/ 78512 w 82915"/>
                <a:gd name="connsiteY17" fmla="*/ 56611 h 82635"/>
                <a:gd name="connsiteX18" fmla="*/ 82916 w 82915"/>
                <a:gd name="connsiteY18" fmla="*/ 52223 h 82635"/>
                <a:gd name="connsiteX19" fmla="*/ 82916 w 82915"/>
                <a:gd name="connsiteY19" fmla="*/ 30413 h 82635"/>
                <a:gd name="connsiteX20" fmla="*/ 78512 w 82915"/>
                <a:gd name="connsiteY20" fmla="*/ 26025 h 82635"/>
                <a:gd name="connsiteX21" fmla="*/ 74109 w 82915"/>
                <a:gd name="connsiteY21" fmla="*/ 47828 h 82635"/>
                <a:gd name="connsiteX22" fmla="*/ 52397 w 82915"/>
                <a:gd name="connsiteY22" fmla="*/ 47828 h 82635"/>
                <a:gd name="connsiteX23" fmla="*/ 47994 w 82915"/>
                <a:gd name="connsiteY23" fmla="*/ 52216 h 82635"/>
                <a:gd name="connsiteX24" fmla="*/ 47994 w 82915"/>
                <a:gd name="connsiteY24" fmla="*/ 52216 h 82635"/>
                <a:gd name="connsiteX25" fmla="*/ 47994 w 82915"/>
                <a:gd name="connsiteY25" fmla="*/ 73852 h 82635"/>
                <a:gd name="connsiteX26" fmla="*/ 34922 w 82915"/>
                <a:gd name="connsiteY26" fmla="*/ 73852 h 82635"/>
                <a:gd name="connsiteX27" fmla="*/ 34922 w 82915"/>
                <a:gd name="connsiteY27" fmla="*/ 52223 h 82635"/>
                <a:gd name="connsiteX28" fmla="*/ 30518 w 82915"/>
                <a:gd name="connsiteY28" fmla="*/ 47828 h 82635"/>
                <a:gd name="connsiteX29" fmla="*/ 30518 w 82915"/>
                <a:gd name="connsiteY29" fmla="*/ 47828 h 82635"/>
                <a:gd name="connsiteX30" fmla="*/ 8807 w 82915"/>
                <a:gd name="connsiteY30" fmla="*/ 47828 h 82635"/>
                <a:gd name="connsiteX31" fmla="*/ 8807 w 82915"/>
                <a:gd name="connsiteY31" fmla="*/ 34801 h 82635"/>
                <a:gd name="connsiteX32" fmla="*/ 30518 w 82915"/>
                <a:gd name="connsiteY32" fmla="*/ 34801 h 82635"/>
                <a:gd name="connsiteX33" fmla="*/ 34922 w 82915"/>
                <a:gd name="connsiteY33" fmla="*/ 30420 h 82635"/>
                <a:gd name="connsiteX34" fmla="*/ 34922 w 82915"/>
                <a:gd name="connsiteY34" fmla="*/ 30413 h 82635"/>
                <a:gd name="connsiteX35" fmla="*/ 34922 w 82915"/>
                <a:gd name="connsiteY35" fmla="*/ 8783 h 82635"/>
                <a:gd name="connsiteX36" fmla="*/ 47994 w 82915"/>
                <a:gd name="connsiteY36" fmla="*/ 8783 h 82635"/>
                <a:gd name="connsiteX37" fmla="*/ 47994 w 82915"/>
                <a:gd name="connsiteY37" fmla="*/ 30413 h 82635"/>
                <a:gd name="connsiteX38" fmla="*/ 52397 w 82915"/>
                <a:gd name="connsiteY38" fmla="*/ 34801 h 82635"/>
                <a:gd name="connsiteX39" fmla="*/ 52397 w 82915"/>
                <a:gd name="connsiteY39" fmla="*/ 34801 h 82635"/>
                <a:gd name="connsiteX40" fmla="*/ 74109 w 82915"/>
                <a:gd name="connsiteY40" fmla="*/ 34801 h 82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82915" h="82635">
                  <a:moveTo>
                    <a:pt x="78512" y="26025"/>
                  </a:moveTo>
                  <a:lnTo>
                    <a:pt x="56808" y="26025"/>
                  </a:lnTo>
                  <a:lnTo>
                    <a:pt x="56808" y="4395"/>
                  </a:lnTo>
                  <a:cubicBezTo>
                    <a:pt x="56808" y="1970"/>
                    <a:pt x="54831" y="0"/>
                    <a:pt x="52397" y="0"/>
                  </a:cubicBezTo>
                  <a:lnTo>
                    <a:pt x="30518" y="0"/>
                  </a:lnTo>
                  <a:cubicBezTo>
                    <a:pt x="28084" y="0"/>
                    <a:pt x="26115" y="1970"/>
                    <a:pt x="26115" y="4395"/>
                  </a:cubicBezTo>
                  <a:lnTo>
                    <a:pt x="26115" y="26025"/>
                  </a:lnTo>
                  <a:lnTo>
                    <a:pt x="4403" y="26025"/>
                  </a:lnTo>
                  <a:cubicBezTo>
                    <a:pt x="1969" y="26025"/>
                    <a:pt x="0" y="27987"/>
                    <a:pt x="0" y="30413"/>
                  </a:cubicBezTo>
                  <a:lnTo>
                    <a:pt x="0" y="52223"/>
                  </a:lnTo>
                  <a:cubicBezTo>
                    <a:pt x="0" y="54642"/>
                    <a:pt x="1969" y="56611"/>
                    <a:pt x="4403" y="56611"/>
                  </a:cubicBezTo>
                  <a:lnTo>
                    <a:pt x="26115" y="56611"/>
                  </a:lnTo>
                  <a:lnTo>
                    <a:pt x="26115" y="78241"/>
                  </a:lnTo>
                  <a:cubicBezTo>
                    <a:pt x="26115" y="80666"/>
                    <a:pt x="28084" y="82629"/>
                    <a:pt x="30518" y="82636"/>
                  </a:cubicBezTo>
                  <a:lnTo>
                    <a:pt x="52397" y="82636"/>
                  </a:lnTo>
                  <a:cubicBezTo>
                    <a:pt x="54831" y="82629"/>
                    <a:pt x="56808" y="80666"/>
                    <a:pt x="56808" y="78241"/>
                  </a:cubicBezTo>
                  <a:lnTo>
                    <a:pt x="56808" y="56611"/>
                  </a:lnTo>
                  <a:lnTo>
                    <a:pt x="78512" y="56611"/>
                  </a:lnTo>
                  <a:cubicBezTo>
                    <a:pt x="80946" y="56611"/>
                    <a:pt x="82916" y="54642"/>
                    <a:pt x="82916" y="52223"/>
                  </a:cubicBezTo>
                  <a:lnTo>
                    <a:pt x="82916" y="30413"/>
                  </a:lnTo>
                  <a:cubicBezTo>
                    <a:pt x="82916" y="27987"/>
                    <a:pt x="80946" y="26025"/>
                    <a:pt x="78512" y="26025"/>
                  </a:cubicBezTo>
                  <a:close/>
                  <a:moveTo>
                    <a:pt x="74109" y="47828"/>
                  </a:moveTo>
                  <a:lnTo>
                    <a:pt x="52397" y="47828"/>
                  </a:lnTo>
                  <a:cubicBezTo>
                    <a:pt x="49963" y="47828"/>
                    <a:pt x="47994" y="49797"/>
                    <a:pt x="47994" y="52216"/>
                  </a:cubicBezTo>
                  <a:cubicBezTo>
                    <a:pt x="47994" y="52216"/>
                    <a:pt x="47994" y="52216"/>
                    <a:pt x="47994" y="52216"/>
                  </a:cubicBezTo>
                  <a:lnTo>
                    <a:pt x="47994" y="73852"/>
                  </a:lnTo>
                  <a:lnTo>
                    <a:pt x="34922" y="73852"/>
                  </a:lnTo>
                  <a:lnTo>
                    <a:pt x="34922" y="52223"/>
                  </a:lnTo>
                  <a:cubicBezTo>
                    <a:pt x="34922" y="49797"/>
                    <a:pt x="32953" y="47828"/>
                    <a:pt x="30518" y="47828"/>
                  </a:cubicBezTo>
                  <a:cubicBezTo>
                    <a:pt x="30518" y="47828"/>
                    <a:pt x="30518" y="47828"/>
                    <a:pt x="30518" y="47828"/>
                  </a:cubicBezTo>
                  <a:lnTo>
                    <a:pt x="8807" y="47828"/>
                  </a:lnTo>
                  <a:lnTo>
                    <a:pt x="8807" y="34801"/>
                  </a:lnTo>
                  <a:lnTo>
                    <a:pt x="30518" y="34801"/>
                  </a:lnTo>
                  <a:cubicBezTo>
                    <a:pt x="32945" y="34801"/>
                    <a:pt x="34922" y="32839"/>
                    <a:pt x="34922" y="30420"/>
                  </a:cubicBezTo>
                  <a:cubicBezTo>
                    <a:pt x="34922" y="30420"/>
                    <a:pt x="34922" y="30413"/>
                    <a:pt x="34922" y="30413"/>
                  </a:cubicBezTo>
                  <a:lnTo>
                    <a:pt x="34922" y="8783"/>
                  </a:lnTo>
                  <a:lnTo>
                    <a:pt x="47994" y="8783"/>
                  </a:lnTo>
                  <a:lnTo>
                    <a:pt x="47994" y="30413"/>
                  </a:lnTo>
                  <a:cubicBezTo>
                    <a:pt x="47994" y="32839"/>
                    <a:pt x="49963" y="34801"/>
                    <a:pt x="52397" y="34801"/>
                  </a:cubicBezTo>
                  <a:cubicBezTo>
                    <a:pt x="52397" y="34801"/>
                    <a:pt x="52397" y="34801"/>
                    <a:pt x="52397" y="34801"/>
                  </a:cubicBezTo>
                  <a:lnTo>
                    <a:pt x="74109" y="34801"/>
                  </a:lnTo>
                  <a:close/>
                </a:path>
              </a:pathLst>
            </a:custGeom>
            <a:grpFill/>
            <a:ln w="726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8">
              <a:extLst>
                <a:ext uri="{FF2B5EF4-FFF2-40B4-BE49-F238E27FC236}">
                  <a16:creationId xmlns:a16="http://schemas.microsoft.com/office/drawing/2014/main" id="{27781A96-1E3D-DB4F-8E70-9FE3D6FBBEAE}"/>
                </a:ext>
              </a:extLst>
            </p:cNvPr>
            <p:cNvSpPr/>
            <p:nvPr/>
          </p:nvSpPr>
          <p:spPr>
            <a:xfrm>
              <a:off x="1486666" y="3380815"/>
              <a:ext cx="363979" cy="215419"/>
            </a:xfrm>
            <a:custGeom>
              <a:avLst/>
              <a:gdLst>
                <a:gd name="connsiteX0" fmla="*/ 349963 w 363979"/>
                <a:gd name="connsiteY0" fmla="*/ 149331 h 215419"/>
                <a:gd name="connsiteX1" fmla="*/ 349963 w 363979"/>
                <a:gd name="connsiteY1" fmla="*/ 113075 h 215419"/>
                <a:gd name="connsiteX2" fmla="*/ 345508 w 363979"/>
                <a:gd name="connsiteY2" fmla="*/ 97448 h 215419"/>
                <a:gd name="connsiteX3" fmla="*/ 302005 w 363979"/>
                <a:gd name="connsiteY3" fmla="*/ 27202 h 215419"/>
                <a:gd name="connsiteX4" fmla="*/ 280977 w 363979"/>
                <a:gd name="connsiteY4" fmla="*/ 15511 h 215419"/>
                <a:gd name="connsiteX5" fmla="*/ 242661 w 363979"/>
                <a:gd name="connsiteY5" fmla="*/ 15511 h 215419"/>
                <a:gd name="connsiteX6" fmla="*/ 242661 w 363979"/>
                <a:gd name="connsiteY6" fmla="*/ 4391 h 215419"/>
                <a:gd name="connsiteX7" fmla="*/ 238265 w 363979"/>
                <a:gd name="connsiteY7" fmla="*/ 0 h 215419"/>
                <a:gd name="connsiteX8" fmla="*/ 238258 w 363979"/>
                <a:gd name="connsiteY8" fmla="*/ 0 h 215419"/>
                <a:gd name="connsiteX9" fmla="*/ 209890 w 363979"/>
                <a:gd name="connsiteY9" fmla="*/ 0 h 215419"/>
                <a:gd name="connsiteX10" fmla="*/ 205487 w 363979"/>
                <a:gd name="connsiteY10" fmla="*/ 4388 h 215419"/>
                <a:gd name="connsiteX11" fmla="*/ 205487 w 363979"/>
                <a:gd name="connsiteY11" fmla="*/ 4391 h 215419"/>
                <a:gd name="connsiteX12" fmla="*/ 205487 w 363979"/>
                <a:gd name="connsiteY12" fmla="*/ 15511 h 215419"/>
                <a:gd name="connsiteX13" fmla="*/ 38735 w 363979"/>
                <a:gd name="connsiteY13" fmla="*/ 15511 h 215419"/>
                <a:gd name="connsiteX14" fmla="*/ 14018 w 363979"/>
                <a:gd name="connsiteY14" fmla="*/ 40135 h 215419"/>
                <a:gd name="connsiteX15" fmla="*/ 14018 w 363979"/>
                <a:gd name="connsiteY15" fmla="*/ 149331 h 215419"/>
                <a:gd name="connsiteX16" fmla="*/ 0 w 363979"/>
                <a:gd name="connsiteY16" fmla="*/ 167159 h 215419"/>
                <a:gd name="connsiteX17" fmla="*/ 0 w 363979"/>
                <a:gd name="connsiteY17" fmla="*/ 173307 h 215419"/>
                <a:gd name="connsiteX18" fmla="*/ 18425 w 363979"/>
                <a:gd name="connsiteY18" fmla="*/ 191670 h 215419"/>
                <a:gd name="connsiteX19" fmla="*/ 59544 w 363979"/>
                <a:gd name="connsiteY19" fmla="*/ 191670 h 215419"/>
                <a:gd name="connsiteX20" fmla="*/ 89110 w 363979"/>
                <a:gd name="connsiteY20" fmla="*/ 215255 h 215419"/>
                <a:gd name="connsiteX21" fmla="*/ 112784 w 363979"/>
                <a:gd name="connsiteY21" fmla="*/ 191670 h 215419"/>
                <a:gd name="connsiteX22" fmla="*/ 235199 w 363979"/>
                <a:gd name="connsiteY22" fmla="*/ 191670 h 215419"/>
                <a:gd name="connsiteX23" fmla="*/ 264765 w 363979"/>
                <a:gd name="connsiteY23" fmla="*/ 215255 h 215419"/>
                <a:gd name="connsiteX24" fmla="*/ 288439 w 363979"/>
                <a:gd name="connsiteY24" fmla="*/ 191670 h 215419"/>
                <a:gd name="connsiteX25" fmla="*/ 345552 w 363979"/>
                <a:gd name="connsiteY25" fmla="*/ 191670 h 215419"/>
                <a:gd name="connsiteX26" fmla="*/ 363979 w 363979"/>
                <a:gd name="connsiteY26" fmla="*/ 173307 h 215419"/>
                <a:gd name="connsiteX27" fmla="*/ 363979 w 363979"/>
                <a:gd name="connsiteY27" fmla="*/ 167159 h 215419"/>
                <a:gd name="connsiteX28" fmla="*/ 349963 w 363979"/>
                <a:gd name="connsiteY28" fmla="*/ 149331 h 215419"/>
                <a:gd name="connsiteX29" fmla="*/ 214294 w 363979"/>
                <a:gd name="connsiteY29" fmla="*/ 8783 h 215419"/>
                <a:gd name="connsiteX30" fmla="*/ 233855 w 363979"/>
                <a:gd name="connsiteY30" fmla="*/ 8783 h 215419"/>
                <a:gd name="connsiteX31" fmla="*/ 233855 w 363979"/>
                <a:gd name="connsiteY31" fmla="*/ 15511 h 215419"/>
                <a:gd name="connsiteX32" fmla="*/ 214294 w 363979"/>
                <a:gd name="connsiteY32" fmla="*/ 15511 h 215419"/>
                <a:gd name="connsiteX33" fmla="*/ 86160 w 363979"/>
                <a:gd name="connsiteY33" fmla="*/ 206638 h 215419"/>
                <a:gd name="connsiteX34" fmla="*/ 68045 w 363979"/>
                <a:gd name="connsiteY34" fmla="*/ 188578 h 215419"/>
                <a:gd name="connsiteX35" fmla="*/ 68074 w 363979"/>
                <a:gd name="connsiteY35" fmla="*/ 187948 h 215419"/>
                <a:gd name="connsiteX36" fmla="*/ 68103 w 363979"/>
                <a:gd name="connsiteY36" fmla="*/ 187528 h 215419"/>
                <a:gd name="connsiteX37" fmla="*/ 87185 w 363979"/>
                <a:gd name="connsiteY37" fmla="*/ 170548 h 215419"/>
                <a:gd name="connsiteX38" fmla="*/ 104224 w 363979"/>
                <a:gd name="connsiteY38" fmla="*/ 187528 h 215419"/>
                <a:gd name="connsiteX39" fmla="*/ 104253 w 363979"/>
                <a:gd name="connsiteY39" fmla="*/ 187948 h 215419"/>
                <a:gd name="connsiteX40" fmla="*/ 104282 w 363979"/>
                <a:gd name="connsiteY40" fmla="*/ 188578 h 215419"/>
                <a:gd name="connsiteX41" fmla="*/ 86160 w 363979"/>
                <a:gd name="connsiteY41" fmla="*/ 206638 h 215419"/>
                <a:gd name="connsiteX42" fmla="*/ 261815 w 363979"/>
                <a:gd name="connsiteY42" fmla="*/ 206638 h 215419"/>
                <a:gd name="connsiteX43" fmla="*/ 243693 w 363979"/>
                <a:gd name="connsiteY43" fmla="*/ 188578 h 215419"/>
                <a:gd name="connsiteX44" fmla="*/ 243730 w 363979"/>
                <a:gd name="connsiteY44" fmla="*/ 187934 h 215419"/>
                <a:gd name="connsiteX45" fmla="*/ 243751 w 363979"/>
                <a:gd name="connsiteY45" fmla="*/ 187528 h 215419"/>
                <a:gd name="connsiteX46" fmla="*/ 262840 w 363979"/>
                <a:gd name="connsiteY46" fmla="*/ 170548 h 215419"/>
                <a:gd name="connsiteX47" fmla="*/ 279879 w 363979"/>
                <a:gd name="connsiteY47" fmla="*/ 187528 h 215419"/>
                <a:gd name="connsiteX48" fmla="*/ 279879 w 363979"/>
                <a:gd name="connsiteY48" fmla="*/ 187528 h 215419"/>
                <a:gd name="connsiteX49" fmla="*/ 279901 w 363979"/>
                <a:gd name="connsiteY49" fmla="*/ 187934 h 215419"/>
                <a:gd name="connsiteX50" fmla="*/ 279937 w 363979"/>
                <a:gd name="connsiteY50" fmla="*/ 188578 h 215419"/>
                <a:gd name="connsiteX51" fmla="*/ 261815 w 363979"/>
                <a:gd name="connsiteY51" fmla="*/ 206638 h 215419"/>
                <a:gd name="connsiteX52" fmla="*/ 355165 w 363979"/>
                <a:gd name="connsiteY52" fmla="*/ 173307 h 215419"/>
                <a:gd name="connsiteX53" fmla="*/ 345552 w 363979"/>
                <a:gd name="connsiteY53" fmla="*/ 182887 h 215419"/>
                <a:gd name="connsiteX54" fmla="*/ 288112 w 363979"/>
                <a:gd name="connsiteY54" fmla="*/ 182887 h 215419"/>
                <a:gd name="connsiteX55" fmla="*/ 287945 w 363979"/>
                <a:gd name="connsiteY55" fmla="*/ 182344 h 215419"/>
                <a:gd name="connsiteX56" fmla="*/ 287385 w 363979"/>
                <a:gd name="connsiteY56" fmla="*/ 180526 h 215419"/>
                <a:gd name="connsiteX57" fmla="*/ 286375 w 363979"/>
                <a:gd name="connsiteY57" fmla="*/ 177745 h 215419"/>
                <a:gd name="connsiteX58" fmla="*/ 285482 w 363979"/>
                <a:gd name="connsiteY58" fmla="*/ 175993 h 215419"/>
                <a:gd name="connsiteX59" fmla="*/ 284036 w 363979"/>
                <a:gd name="connsiteY59" fmla="*/ 173567 h 215419"/>
                <a:gd name="connsiteX60" fmla="*/ 282851 w 363979"/>
                <a:gd name="connsiteY60" fmla="*/ 171974 h 215419"/>
                <a:gd name="connsiteX61" fmla="*/ 281006 w 363979"/>
                <a:gd name="connsiteY61" fmla="*/ 169882 h 215419"/>
                <a:gd name="connsiteX62" fmla="*/ 279581 w 363979"/>
                <a:gd name="connsiteY62" fmla="*/ 168513 h 215419"/>
                <a:gd name="connsiteX63" fmla="*/ 277365 w 363979"/>
                <a:gd name="connsiteY63" fmla="*/ 166782 h 215419"/>
                <a:gd name="connsiteX64" fmla="*/ 275752 w 363979"/>
                <a:gd name="connsiteY64" fmla="*/ 165689 h 215419"/>
                <a:gd name="connsiteX65" fmla="*/ 273158 w 363979"/>
                <a:gd name="connsiteY65" fmla="*/ 164342 h 215419"/>
                <a:gd name="connsiteX66" fmla="*/ 271458 w 363979"/>
                <a:gd name="connsiteY66" fmla="*/ 163560 h 215419"/>
                <a:gd name="connsiteX67" fmla="*/ 268340 w 363979"/>
                <a:gd name="connsiteY67" fmla="*/ 162633 h 215419"/>
                <a:gd name="connsiteX68" fmla="*/ 266793 w 363979"/>
                <a:gd name="connsiteY68" fmla="*/ 162220 h 215419"/>
                <a:gd name="connsiteX69" fmla="*/ 256845 w 363979"/>
                <a:gd name="connsiteY69" fmla="*/ 162220 h 215419"/>
                <a:gd name="connsiteX70" fmla="*/ 255290 w 363979"/>
                <a:gd name="connsiteY70" fmla="*/ 162633 h 215419"/>
                <a:gd name="connsiteX71" fmla="*/ 252173 w 363979"/>
                <a:gd name="connsiteY71" fmla="*/ 163560 h 215419"/>
                <a:gd name="connsiteX72" fmla="*/ 250465 w 363979"/>
                <a:gd name="connsiteY72" fmla="*/ 164349 h 215419"/>
                <a:gd name="connsiteX73" fmla="*/ 247879 w 363979"/>
                <a:gd name="connsiteY73" fmla="*/ 165689 h 215419"/>
                <a:gd name="connsiteX74" fmla="*/ 246258 w 363979"/>
                <a:gd name="connsiteY74" fmla="*/ 166790 h 215419"/>
                <a:gd name="connsiteX75" fmla="*/ 244056 w 363979"/>
                <a:gd name="connsiteY75" fmla="*/ 168513 h 215419"/>
                <a:gd name="connsiteX76" fmla="*/ 242618 w 363979"/>
                <a:gd name="connsiteY76" fmla="*/ 169896 h 215419"/>
                <a:gd name="connsiteX77" fmla="*/ 240794 w 363979"/>
                <a:gd name="connsiteY77" fmla="*/ 171960 h 215419"/>
                <a:gd name="connsiteX78" fmla="*/ 239595 w 363979"/>
                <a:gd name="connsiteY78" fmla="*/ 173575 h 215419"/>
                <a:gd name="connsiteX79" fmla="*/ 238156 w 363979"/>
                <a:gd name="connsiteY79" fmla="*/ 175979 h 215419"/>
                <a:gd name="connsiteX80" fmla="*/ 237255 w 363979"/>
                <a:gd name="connsiteY80" fmla="*/ 177753 h 215419"/>
                <a:gd name="connsiteX81" fmla="*/ 236260 w 363979"/>
                <a:gd name="connsiteY81" fmla="*/ 180504 h 215419"/>
                <a:gd name="connsiteX82" fmla="*/ 235686 w 363979"/>
                <a:gd name="connsiteY82" fmla="*/ 182351 h 215419"/>
                <a:gd name="connsiteX83" fmla="*/ 235519 w 363979"/>
                <a:gd name="connsiteY83" fmla="*/ 182887 h 215419"/>
                <a:gd name="connsiteX84" fmla="*/ 112457 w 363979"/>
                <a:gd name="connsiteY84" fmla="*/ 182887 h 215419"/>
                <a:gd name="connsiteX85" fmla="*/ 112290 w 363979"/>
                <a:gd name="connsiteY85" fmla="*/ 182351 h 215419"/>
                <a:gd name="connsiteX86" fmla="*/ 111723 w 363979"/>
                <a:gd name="connsiteY86" fmla="*/ 180504 h 215419"/>
                <a:gd name="connsiteX87" fmla="*/ 110727 w 363979"/>
                <a:gd name="connsiteY87" fmla="*/ 177753 h 215419"/>
                <a:gd name="connsiteX88" fmla="*/ 109819 w 363979"/>
                <a:gd name="connsiteY88" fmla="*/ 175971 h 215419"/>
                <a:gd name="connsiteX89" fmla="*/ 108388 w 363979"/>
                <a:gd name="connsiteY89" fmla="*/ 173575 h 215419"/>
                <a:gd name="connsiteX90" fmla="*/ 107189 w 363979"/>
                <a:gd name="connsiteY90" fmla="*/ 171960 h 215419"/>
                <a:gd name="connsiteX91" fmla="*/ 105365 w 363979"/>
                <a:gd name="connsiteY91" fmla="*/ 169896 h 215419"/>
                <a:gd name="connsiteX92" fmla="*/ 103919 w 363979"/>
                <a:gd name="connsiteY92" fmla="*/ 168506 h 215419"/>
                <a:gd name="connsiteX93" fmla="*/ 101724 w 363979"/>
                <a:gd name="connsiteY93" fmla="*/ 166797 h 215419"/>
                <a:gd name="connsiteX94" fmla="*/ 100097 w 363979"/>
                <a:gd name="connsiteY94" fmla="*/ 165682 h 215419"/>
                <a:gd name="connsiteX95" fmla="*/ 97517 w 363979"/>
                <a:gd name="connsiteY95" fmla="*/ 164349 h 215419"/>
                <a:gd name="connsiteX96" fmla="*/ 95802 w 363979"/>
                <a:gd name="connsiteY96" fmla="*/ 163560 h 215419"/>
                <a:gd name="connsiteX97" fmla="*/ 92692 w 363979"/>
                <a:gd name="connsiteY97" fmla="*/ 162633 h 215419"/>
                <a:gd name="connsiteX98" fmla="*/ 91137 w 363979"/>
                <a:gd name="connsiteY98" fmla="*/ 162220 h 215419"/>
                <a:gd name="connsiteX99" fmla="*/ 81190 w 363979"/>
                <a:gd name="connsiteY99" fmla="*/ 162220 h 215419"/>
                <a:gd name="connsiteX100" fmla="*/ 79635 w 363979"/>
                <a:gd name="connsiteY100" fmla="*/ 162633 h 215419"/>
                <a:gd name="connsiteX101" fmla="*/ 76518 w 363979"/>
                <a:gd name="connsiteY101" fmla="*/ 163560 h 215419"/>
                <a:gd name="connsiteX102" fmla="*/ 74817 w 363979"/>
                <a:gd name="connsiteY102" fmla="*/ 164342 h 215419"/>
                <a:gd name="connsiteX103" fmla="*/ 72223 w 363979"/>
                <a:gd name="connsiteY103" fmla="*/ 165689 h 215419"/>
                <a:gd name="connsiteX104" fmla="*/ 70610 w 363979"/>
                <a:gd name="connsiteY104" fmla="*/ 166790 h 215419"/>
                <a:gd name="connsiteX105" fmla="*/ 68401 w 363979"/>
                <a:gd name="connsiteY105" fmla="*/ 168513 h 215419"/>
                <a:gd name="connsiteX106" fmla="*/ 66974 w 363979"/>
                <a:gd name="connsiteY106" fmla="*/ 169889 h 215419"/>
                <a:gd name="connsiteX107" fmla="*/ 65131 w 363979"/>
                <a:gd name="connsiteY107" fmla="*/ 171974 h 215419"/>
                <a:gd name="connsiteX108" fmla="*/ 63946 w 363979"/>
                <a:gd name="connsiteY108" fmla="*/ 173567 h 215419"/>
                <a:gd name="connsiteX109" fmla="*/ 62500 w 363979"/>
                <a:gd name="connsiteY109" fmla="*/ 175993 h 215419"/>
                <a:gd name="connsiteX110" fmla="*/ 61606 w 363979"/>
                <a:gd name="connsiteY110" fmla="*/ 177745 h 215419"/>
                <a:gd name="connsiteX111" fmla="*/ 60597 w 363979"/>
                <a:gd name="connsiteY111" fmla="*/ 180526 h 215419"/>
                <a:gd name="connsiteX112" fmla="*/ 60034 w 363979"/>
                <a:gd name="connsiteY112" fmla="*/ 182344 h 215419"/>
                <a:gd name="connsiteX113" fmla="*/ 59867 w 363979"/>
                <a:gd name="connsiteY113" fmla="*/ 182887 h 215419"/>
                <a:gd name="connsiteX114" fmla="*/ 18425 w 363979"/>
                <a:gd name="connsiteY114" fmla="*/ 182887 h 215419"/>
                <a:gd name="connsiteX115" fmla="*/ 8812 w 363979"/>
                <a:gd name="connsiteY115" fmla="*/ 173307 h 215419"/>
                <a:gd name="connsiteX116" fmla="*/ 8812 w 363979"/>
                <a:gd name="connsiteY116" fmla="*/ 167159 h 215419"/>
                <a:gd name="connsiteX117" fmla="*/ 18425 w 363979"/>
                <a:gd name="connsiteY117" fmla="*/ 157586 h 215419"/>
                <a:gd name="connsiteX118" fmla="*/ 22831 w 363979"/>
                <a:gd name="connsiteY118" fmla="*/ 153191 h 215419"/>
                <a:gd name="connsiteX119" fmla="*/ 22831 w 363979"/>
                <a:gd name="connsiteY119" fmla="*/ 153191 h 215419"/>
                <a:gd name="connsiteX120" fmla="*/ 22831 w 363979"/>
                <a:gd name="connsiteY120" fmla="*/ 40135 h 215419"/>
                <a:gd name="connsiteX121" fmla="*/ 38735 w 363979"/>
                <a:gd name="connsiteY121" fmla="*/ 24291 h 215419"/>
                <a:gd name="connsiteX122" fmla="*/ 280977 w 363979"/>
                <a:gd name="connsiteY122" fmla="*/ 24291 h 215419"/>
                <a:gd name="connsiteX123" fmla="*/ 294506 w 363979"/>
                <a:gd name="connsiteY123" fmla="*/ 31815 h 215419"/>
                <a:gd name="connsiteX124" fmla="*/ 338017 w 363979"/>
                <a:gd name="connsiteY124" fmla="*/ 102061 h 215419"/>
                <a:gd name="connsiteX125" fmla="*/ 341149 w 363979"/>
                <a:gd name="connsiteY125" fmla="*/ 113075 h 215419"/>
                <a:gd name="connsiteX126" fmla="*/ 341149 w 363979"/>
                <a:gd name="connsiteY126" fmla="*/ 153191 h 215419"/>
                <a:gd name="connsiteX127" fmla="*/ 345552 w 363979"/>
                <a:gd name="connsiteY127" fmla="*/ 157586 h 215419"/>
                <a:gd name="connsiteX128" fmla="*/ 345552 w 363979"/>
                <a:gd name="connsiteY128" fmla="*/ 157586 h 215419"/>
                <a:gd name="connsiteX129" fmla="*/ 355165 w 363979"/>
                <a:gd name="connsiteY129" fmla="*/ 167159 h 215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363979" h="215419">
                  <a:moveTo>
                    <a:pt x="349963" y="149331"/>
                  </a:moveTo>
                  <a:lnTo>
                    <a:pt x="349963" y="113075"/>
                  </a:lnTo>
                  <a:cubicBezTo>
                    <a:pt x="349963" y="107550"/>
                    <a:pt x="348422" y="102141"/>
                    <a:pt x="345508" y="97448"/>
                  </a:cubicBezTo>
                  <a:lnTo>
                    <a:pt x="302005" y="27202"/>
                  </a:lnTo>
                  <a:cubicBezTo>
                    <a:pt x="297529" y="19910"/>
                    <a:pt x="289551" y="15480"/>
                    <a:pt x="280977" y="15511"/>
                  </a:cubicBezTo>
                  <a:lnTo>
                    <a:pt x="242661" y="15511"/>
                  </a:lnTo>
                  <a:lnTo>
                    <a:pt x="242661" y="4391"/>
                  </a:lnTo>
                  <a:cubicBezTo>
                    <a:pt x="242661" y="1967"/>
                    <a:pt x="240692" y="1"/>
                    <a:pt x="238265" y="0"/>
                  </a:cubicBezTo>
                  <a:cubicBezTo>
                    <a:pt x="238258" y="0"/>
                    <a:pt x="238258" y="0"/>
                    <a:pt x="238258" y="0"/>
                  </a:cubicBezTo>
                  <a:lnTo>
                    <a:pt x="209890" y="0"/>
                  </a:lnTo>
                  <a:cubicBezTo>
                    <a:pt x="207456" y="-1"/>
                    <a:pt x="205487" y="1964"/>
                    <a:pt x="205487" y="4388"/>
                  </a:cubicBezTo>
                  <a:cubicBezTo>
                    <a:pt x="205487" y="4390"/>
                    <a:pt x="205487" y="4390"/>
                    <a:pt x="205487" y="4391"/>
                  </a:cubicBezTo>
                  <a:lnTo>
                    <a:pt x="205487" y="15511"/>
                  </a:lnTo>
                  <a:lnTo>
                    <a:pt x="38735" y="15511"/>
                  </a:lnTo>
                  <a:cubicBezTo>
                    <a:pt x="25092" y="15524"/>
                    <a:pt x="14034" y="26543"/>
                    <a:pt x="14018" y="40135"/>
                  </a:cubicBezTo>
                  <a:lnTo>
                    <a:pt x="14018" y="149331"/>
                  </a:lnTo>
                  <a:cubicBezTo>
                    <a:pt x="5792" y="151359"/>
                    <a:pt x="11" y="158716"/>
                    <a:pt x="0" y="167159"/>
                  </a:cubicBezTo>
                  <a:lnTo>
                    <a:pt x="0" y="173307"/>
                  </a:lnTo>
                  <a:cubicBezTo>
                    <a:pt x="11" y="183444"/>
                    <a:pt x="8254" y="191656"/>
                    <a:pt x="18425" y="191670"/>
                  </a:cubicBezTo>
                  <a:lnTo>
                    <a:pt x="59544" y="191670"/>
                  </a:lnTo>
                  <a:cubicBezTo>
                    <a:pt x="61173" y="206319"/>
                    <a:pt x="74410" y="216877"/>
                    <a:pt x="89110" y="215255"/>
                  </a:cubicBezTo>
                  <a:cubicBezTo>
                    <a:pt x="101572" y="213879"/>
                    <a:pt x="111403" y="204081"/>
                    <a:pt x="112784" y="191670"/>
                  </a:cubicBezTo>
                  <a:lnTo>
                    <a:pt x="235199" y="191670"/>
                  </a:lnTo>
                  <a:cubicBezTo>
                    <a:pt x="236827" y="206319"/>
                    <a:pt x="250066" y="216877"/>
                    <a:pt x="264765" y="215255"/>
                  </a:cubicBezTo>
                  <a:cubicBezTo>
                    <a:pt x="277220" y="213879"/>
                    <a:pt x="287058" y="204081"/>
                    <a:pt x="288439" y="191670"/>
                  </a:cubicBezTo>
                  <a:lnTo>
                    <a:pt x="345552" y="191670"/>
                  </a:lnTo>
                  <a:cubicBezTo>
                    <a:pt x="355725" y="191656"/>
                    <a:pt x="363972" y="183444"/>
                    <a:pt x="363979" y="173307"/>
                  </a:cubicBezTo>
                  <a:lnTo>
                    <a:pt x="363979" y="167159"/>
                  </a:lnTo>
                  <a:cubicBezTo>
                    <a:pt x="363972" y="158716"/>
                    <a:pt x="358188" y="151359"/>
                    <a:pt x="349963" y="149331"/>
                  </a:cubicBezTo>
                  <a:close/>
                  <a:moveTo>
                    <a:pt x="214294" y="8783"/>
                  </a:moveTo>
                  <a:lnTo>
                    <a:pt x="233855" y="8783"/>
                  </a:lnTo>
                  <a:lnTo>
                    <a:pt x="233855" y="15511"/>
                  </a:lnTo>
                  <a:lnTo>
                    <a:pt x="214294" y="15511"/>
                  </a:lnTo>
                  <a:close/>
                  <a:moveTo>
                    <a:pt x="86160" y="206638"/>
                  </a:moveTo>
                  <a:cubicBezTo>
                    <a:pt x="76162" y="206623"/>
                    <a:pt x="68052" y="198542"/>
                    <a:pt x="68045" y="188578"/>
                  </a:cubicBezTo>
                  <a:cubicBezTo>
                    <a:pt x="68045" y="188368"/>
                    <a:pt x="68060" y="188151"/>
                    <a:pt x="68074" y="187948"/>
                  </a:cubicBezTo>
                  <a:lnTo>
                    <a:pt x="68103" y="187528"/>
                  </a:lnTo>
                  <a:cubicBezTo>
                    <a:pt x="68663" y="177593"/>
                    <a:pt x="77208" y="169990"/>
                    <a:pt x="87185" y="170548"/>
                  </a:cubicBezTo>
                  <a:cubicBezTo>
                    <a:pt x="96369" y="171069"/>
                    <a:pt x="103708" y="178375"/>
                    <a:pt x="104224" y="187528"/>
                  </a:cubicBezTo>
                  <a:lnTo>
                    <a:pt x="104253" y="187948"/>
                  </a:lnTo>
                  <a:cubicBezTo>
                    <a:pt x="104268" y="188151"/>
                    <a:pt x="104282" y="188368"/>
                    <a:pt x="104282" y="188578"/>
                  </a:cubicBezTo>
                  <a:cubicBezTo>
                    <a:pt x="104275" y="198542"/>
                    <a:pt x="96166" y="206623"/>
                    <a:pt x="86160" y="206638"/>
                  </a:cubicBezTo>
                  <a:close/>
                  <a:moveTo>
                    <a:pt x="261815" y="206638"/>
                  </a:moveTo>
                  <a:cubicBezTo>
                    <a:pt x="251817" y="206623"/>
                    <a:pt x="243708" y="198542"/>
                    <a:pt x="243693" y="188578"/>
                  </a:cubicBezTo>
                  <a:cubicBezTo>
                    <a:pt x="243693" y="188361"/>
                    <a:pt x="243715" y="188151"/>
                    <a:pt x="243730" y="187934"/>
                  </a:cubicBezTo>
                  <a:lnTo>
                    <a:pt x="243751" y="187528"/>
                  </a:lnTo>
                  <a:cubicBezTo>
                    <a:pt x="244318" y="177593"/>
                    <a:pt x="252863" y="169990"/>
                    <a:pt x="262840" y="170548"/>
                  </a:cubicBezTo>
                  <a:cubicBezTo>
                    <a:pt x="272025" y="171069"/>
                    <a:pt x="279356" y="178375"/>
                    <a:pt x="279879" y="187528"/>
                  </a:cubicBezTo>
                  <a:lnTo>
                    <a:pt x="279879" y="187528"/>
                  </a:lnTo>
                  <a:lnTo>
                    <a:pt x="279901" y="187934"/>
                  </a:lnTo>
                  <a:cubicBezTo>
                    <a:pt x="279916" y="188151"/>
                    <a:pt x="279937" y="188361"/>
                    <a:pt x="279937" y="188578"/>
                  </a:cubicBezTo>
                  <a:cubicBezTo>
                    <a:pt x="279923" y="198549"/>
                    <a:pt x="271821" y="206623"/>
                    <a:pt x="261815" y="206638"/>
                  </a:cubicBezTo>
                  <a:close/>
                  <a:moveTo>
                    <a:pt x="355165" y="173307"/>
                  </a:moveTo>
                  <a:cubicBezTo>
                    <a:pt x="355165" y="178593"/>
                    <a:pt x="350864" y="182879"/>
                    <a:pt x="345552" y="182887"/>
                  </a:cubicBezTo>
                  <a:lnTo>
                    <a:pt x="288112" y="182887"/>
                  </a:lnTo>
                  <a:cubicBezTo>
                    <a:pt x="288076" y="182698"/>
                    <a:pt x="287988" y="182525"/>
                    <a:pt x="287945" y="182344"/>
                  </a:cubicBezTo>
                  <a:cubicBezTo>
                    <a:pt x="287792" y="181721"/>
                    <a:pt x="287574" y="181127"/>
                    <a:pt x="287385" y="180526"/>
                  </a:cubicBezTo>
                  <a:cubicBezTo>
                    <a:pt x="287095" y="179577"/>
                    <a:pt x="286761" y="178651"/>
                    <a:pt x="286375" y="177745"/>
                  </a:cubicBezTo>
                  <a:cubicBezTo>
                    <a:pt x="286106" y="177137"/>
                    <a:pt x="285787" y="176572"/>
                    <a:pt x="285482" y="175993"/>
                  </a:cubicBezTo>
                  <a:cubicBezTo>
                    <a:pt x="285038" y="175160"/>
                    <a:pt x="284559" y="174349"/>
                    <a:pt x="284036" y="173567"/>
                  </a:cubicBezTo>
                  <a:cubicBezTo>
                    <a:pt x="283658" y="173010"/>
                    <a:pt x="283258" y="172488"/>
                    <a:pt x="282851" y="171974"/>
                  </a:cubicBezTo>
                  <a:cubicBezTo>
                    <a:pt x="282270" y="171243"/>
                    <a:pt x="281652" y="170548"/>
                    <a:pt x="281006" y="169882"/>
                  </a:cubicBezTo>
                  <a:cubicBezTo>
                    <a:pt x="280541" y="169411"/>
                    <a:pt x="280076" y="168955"/>
                    <a:pt x="279581" y="168513"/>
                  </a:cubicBezTo>
                  <a:cubicBezTo>
                    <a:pt x="278869" y="167897"/>
                    <a:pt x="278128" y="167325"/>
                    <a:pt x="277365" y="166782"/>
                  </a:cubicBezTo>
                  <a:cubicBezTo>
                    <a:pt x="276827" y="166406"/>
                    <a:pt x="276312" y="166029"/>
                    <a:pt x="275752" y="165689"/>
                  </a:cubicBezTo>
                  <a:cubicBezTo>
                    <a:pt x="274916" y="165189"/>
                    <a:pt x="274052" y="164740"/>
                    <a:pt x="273158" y="164342"/>
                  </a:cubicBezTo>
                  <a:cubicBezTo>
                    <a:pt x="272591" y="164074"/>
                    <a:pt x="272046" y="163784"/>
                    <a:pt x="271458" y="163560"/>
                  </a:cubicBezTo>
                  <a:cubicBezTo>
                    <a:pt x="270440" y="163191"/>
                    <a:pt x="269394" y="162879"/>
                    <a:pt x="268340" y="162633"/>
                  </a:cubicBezTo>
                  <a:cubicBezTo>
                    <a:pt x="267817" y="162503"/>
                    <a:pt x="267323" y="162322"/>
                    <a:pt x="266793" y="162220"/>
                  </a:cubicBezTo>
                  <a:cubicBezTo>
                    <a:pt x="263508" y="161576"/>
                    <a:pt x="260130" y="161576"/>
                    <a:pt x="256845" y="162220"/>
                  </a:cubicBezTo>
                  <a:cubicBezTo>
                    <a:pt x="256307" y="162322"/>
                    <a:pt x="255813" y="162503"/>
                    <a:pt x="255290" y="162633"/>
                  </a:cubicBezTo>
                  <a:cubicBezTo>
                    <a:pt x="254229" y="162879"/>
                    <a:pt x="253190" y="163191"/>
                    <a:pt x="252173" y="163560"/>
                  </a:cubicBezTo>
                  <a:cubicBezTo>
                    <a:pt x="251584" y="163784"/>
                    <a:pt x="251032" y="164081"/>
                    <a:pt x="250465" y="164349"/>
                  </a:cubicBezTo>
                  <a:cubicBezTo>
                    <a:pt x="249579" y="164748"/>
                    <a:pt x="248714" y="165189"/>
                    <a:pt x="247879" y="165689"/>
                  </a:cubicBezTo>
                  <a:cubicBezTo>
                    <a:pt x="247319" y="166029"/>
                    <a:pt x="246796" y="166413"/>
                    <a:pt x="246258" y="166790"/>
                  </a:cubicBezTo>
                  <a:cubicBezTo>
                    <a:pt x="245495" y="167325"/>
                    <a:pt x="244761" y="167897"/>
                    <a:pt x="244056" y="168513"/>
                  </a:cubicBezTo>
                  <a:cubicBezTo>
                    <a:pt x="243555" y="168955"/>
                    <a:pt x="243083" y="169411"/>
                    <a:pt x="242618" y="169896"/>
                  </a:cubicBezTo>
                  <a:cubicBezTo>
                    <a:pt x="241971" y="170548"/>
                    <a:pt x="241361" y="171243"/>
                    <a:pt x="240794" y="171960"/>
                  </a:cubicBezTo>
                  <a:cubicBezTo>
                    <a:pt x="240373" y="172488"/>
                    <a:pt x="239973" y="173017"/>
                    <a:pt x="239595" y="173575"/>
                  </a:cubicBezTo>
                  <a:cubicBezTo>
                    <a:pt x="239072" y="174349"/>
                    <a:pt x="238592" y="175146"/>
                    <a:pt x="238156" y="175979"/>
                  </a:cubicBezTo>
                  <a:cubicBezTo>
                    <a:pt x="237844" y="176565"/>
                    <a:pt x="237524" y="177137"/>
                    <a:pt x="237255" y="177753"/>
                  </a:cubicBezTo>
                  <a:cubicBezTo>
                    <a:pt x="236870" y="178651"/>
                    <a:pt x="236543" y="179563"/>
                    <a:pt x="236260" y="180504"/>
                  </a:cubicBezTo>
                  <a:cubicBezTo>
                    <a:pt x="236064" y="181120"/>
                    <a:pt x="235838" y="181714"/>
                    <a:pt x="235686" y="182351"/>
                  </a:cubicBezTo>
                  <a:cubicBezTo>
                    <a:pt x="235642" y="182532"/>
                    <a:pt x="235562" y="182698"/>
                    <a:pt x="235519" y="182887"/>
                  </a:cubicBezTo>
                  <a:lnTo>
                    <a:pt x="112457" y="182887"/>
                  </a:lnTo>
                  <a:cubicBezTo>
                    <a:pt x="112420" y="182698"/>
                    <a:pt x="112333" y="182532"/>
                    <a:pt x="112290" y="182351"/>
                  </a:cubicBezTo>
                  <a:cubicBezTo>
                    <a:pt x="112144" y="181714"/>
                    <a:pt x="111919" y="181113"/>
                    <a:pt x="111723" y="180504"/>
                  </a:cubicBezTo>
                  <a:cubicBezTo>
                    <a:pt x="111439" y="179563"/>
                    <a:pt x="111105" y="178651"/>
                    <a:pt x="110727" y="177753"/>
                  </a:cubicBezTo>
                  <a:cubicBezTo>
                    <a:pt x="110451" y="177137"/>
                    <a:pt x="110132" y="176565"/>
                    <a:pt x="109819" y="175971"/>
                  </a:cubicBezTo>
                  <a:cubicBezTo>
                    <a:pt x="109383" y="175146"/>
                    <a:pt x="108904" y="174349"/>
                    <a:pt x="108388" y="173575"/>
                  </a:cubicBezTo>
                  <a:cubicBezTo>
                    <a:pt x="108010" y="173017"/>
                    <a:pt x="107603" y="172488"/>
                    <a:pt x="107189" y="171960"/>
                  </a:cubicBezTo>
                  <a:cubicBezTo>
                    <a:pt x="106615" y="171236"/>
                    <a:pt x="106004" y="170555"/>
                    <a:pt x="105365" y="169896"/>
                  </a:cubicBezTo>
                  <a:cubicBezTo>
                    <a:pt x="104893" y="169418"/>
                    <a:pt x="104420" y="168955"/>
                    <a:pt x="103919" y="168506"/>
                  </a:cubicBezTo>
                  <a:cubicBezTo>
                    <a:pt x="103214" y="167897"/>
                    <a:pt x="102487" y="167325"/>
                    <a:pt x="101724" y="166797"/>
                  </a:cubicBezTo>
                  <a:cubicBezTo>
                    <a:pt x="101187" y="166413"/>
                    <a:pt x="100664" y="166029"/>
                    <a:pt x="100097" y="165682"/>
                  </a:cubicBezTo>
                  <a:cubicBezTo>
                    <a:pt x="99261" y="165189"/>
                    <a:pt x="98404" y="164748"/>
                    <a:pt x="97517" y="164349"/>
                  </a:cubicBezTo>
                  <a:cubicBezTo>
                    <a:pt x="96951" y="164081"/>
                    <a:pt x="96398" y="163784"/>
                    <a:pt x="95802" y="163560"/>
                  </a:cubicBezTo>
                  <a:cubicBezTo>
                    <a:pt x="94785" y="163191"/>
                    <a:pt x="93746" y="162879"/>
                    <a:pt x="92692" y="162633"/>
                  </a:cubicBezTo>
                  <a:cubicBezTo>
                    <a:pt x="92169" y="162503"/>
                    <a:pt x="91675" y="162322"/>
                    <a:pt x="91137" y="162220"/>
                  </a:cubicBezTo>
                  <a:cubicBezTo>
                    <a:pt x="87853" y="161576"/>
                    <a:pt x="84474" y="161576"/>
                    <a:pt x="81190" y="162220"/>
                  </a:cubicBezTo>
                  <a:cubicBezTo>
                    <a:pt x="80659" y="162322"/>
                    <a:pt x="80158" y="162503"/>
                    <a:pt x="79635" y="162633"/>
                  </a:cubicBezTo>
                  <a:cubicBezTo>
                    <a:pt x="78581" y="162879"/>
                    <a:pt x="77535" y="163191"/>
                    <a:pt x="76518" y="163560"/>
                  </a:cubicBezTo>
                  <a:cubicBezTo>
                    <a:pt x="75929" y="163784"/>
                    <a:pt x="75384" y="164074"/>
                    <a:pt x="74817" y="164342"/>
                  </a:cubicBezTo>
                  <a:cubicBezTo>
                    <a:pt x="73931" y="164740"/>
                    <a:pt x="73066" y="165189"/>
                    <a:pt x="72223" y="165689"/>
                  </a:cubicBezTo>
                  <a:cubicBezTo>
                    <a:pt x="71664" y="166029"/>
                    <a:pt x="71148" y="166406"/>
                    <a:pt x="70610" y="166790"/>
                  </a:cubicBezTo>
                  <a:cubicBezTo>
                    <a:pt x="69847" y="167325"/>
                    <a:pt x="69106" y="167905"/>
                    <a:pt x="68401" y="168513"/>
                  </a:cubicBezTo>
                  <a:cubicBezTo>
                    <a:pt x="67903" y="168955"/>
                    <a:pt x="67437" y="169411"/>
                    <a:pt x="66974" y="169889"/>
                  </a:cubicBezTo>
                  <a:cubicBezTo>
                    <a:pt x="66324" y="170548"/>
                    <a:pt x="65708" y="171243"/>
                    <a:pt x="65131" y="171974"/>
                  </a:cubicBezTo>
                  <a:cubicBezTo>
                    <a:pt x="64717" y="172496"/>
                    <a:pt x="64320" y="173017"/>
                    <a:pt x="63946" y="173567"/>
                  </a:cubicBezTo>
                  <a:cubicBezTo>
                    <a:pt x="63421" y="174349"/>
                    <a:pt x="62938" y="175153"/>
                    <a:pt x="62500" y="175993"/>
                  </a:cubicBezTo>
                  <a:cubicBezTo>
                    <a:pt x="62187" y="176572"/>
                    <a:pt x="61875" y="177137"/>
                    <a:pt x="61606" y="177745"/>
                  </a:cubicBezTo>
                  <a:cubicBezTo>
                    <a:pt x="61219" y="178651"/>
                    <a:pt x="60881" y="179577"/>
                    <a:pt x="60597" y="180526"/>
                  </a:cubicBezTo>
                  <a:cubicBezTo>
                    <a:pt x="60405" y="181134"/>
                    <a:pt x="60183" y="181721"/>
                    <a:pt x="60034" y="182344"/>
                  </a:cubicBezTo>
                  <a:cubicBezTo>
                    <a:pt x="59990" y="182532"/>
                    <a:pt x="59906" y="182698"/>
                    <a:pt x="59867" y="182887"/>
                  </a:cubicBezTo>
                  <a:lnTo>
                    <a:pt x="18425" y="182887"/>
                  </a:lnTo>
                  <a:cubicBezTo>
                    <a:pt x="13118" y="182879"/>
                    <a:pt x="8818" y="178593"/>
                    <a:pt x="8812" y="173307"/>
                  </a:cubicBezTo>
                  <a:lnTo>
                    <a:pt x="8812" y="167159"/>
                  </a:lnTo>
                  <a:cubicBezTo>
                    <a:pt x="8818" y="161873"/>
                    <a:pt x="13119" y="157586"/>
                    <a:pt x="18425" y="157586"/>
                  </a:cubicBezTo>
                  <a:cubicBezTo>
                    <a:pt x="20859" y="157586"/>
                    <a:pt x="22831" y="155616"/>
                    <a:pt x="22831" y="153191"/>
                  </a:cubicBezTo>
                  <a:cubicBezTo>
                    <a:pt x="22831" y="153191"/>
                    <a:pt x="22831" y="153191"/>
                    <a:pt x="22831" y="153191"/>
                  </a:cubicBezTo>
                  <a:lnTo>
                    <a:pt x="22831" y="40135"/>
                  </a:lnTo>
                  <a:cubicBezTo>
                    <a:pt x="22842" y="31387"/>
                    <a:pt x="29957" y="24298"/>
                    <a:pt x="38735" y="24291"/>
                  </a:cubicBezTo>
                  <a:lnTo>
                    <a:pt x="280977" y="24291"/>
                  </a:lnTo>
                  <a:cubicBezTo>
                    <a:pt x="286499" y="24277"/>
                    <a:pt x="291622" y="27122"/>
                    <a:pt x="294506" y="31815"/>
                  </a:cubicBezTo>
                  <a:lnTo>
                    <a:pt x="338017" y="102061"/>
                  </a:lnTo>
                  <a:cubicBezTo>
                    <a:pt x="340066" y="105370"/>
                    <a:pt x="341149" y="109179"/>
                    <a:pt x="341149" y="113075"/>
                  </a:cubicBezTo>
                  <a:lnTo>
                    <a:pt x="341149" y="153191"/>
                  </a:lnTo>
                  <a:cubicBezTo>
                    <a:pt x="341149" y="155616"/>
                    <a:pt x="343118" y="157586"/>
                    <a:pt x="345552" y="157586"/>
                  </a:cubicBezTo>
                  <a:cubicBezTo>
                    <a:pt x="345552" y="157586"/>
                    <a:pt x="345552" y="157586"/>
                    <a:pt x="345552" y="157586"/>
                  </a:cubicBezTo>
                  <a:cubicBezTo>
                    <a:pt x="350864" y="157586"/>
                    <a:pt x="355158" y="161873"/>
                    <a:pt x="355165" y="167159"/>
                  </a:cubicBezTo>
                  <a:close/>
                </a:path>
              </a:pathLst>
            </a:custGeom>
            <a:grpFill/>
            <a:ln w="726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9">
              <a:extLst>
                <a:ext uri="{FF2B5EF4-FFF2-40B4-BE49-F238E27FC236}">
                  <a16:creationId xmlns:a16="http://schemas.microsoft.com/office/drawing/2014/main" id="{BAE75FD3-A1DC-6048-9540-F79F937F1557}"/>
                </a:ext>
              </a:extLst>
            </p:cNvPr>
            <p:cNvSpPr/>
            <p:nvPr/>
          </p:nvSpPr>
          <p:spPr>
            <a:xfrm>
              <a:off x="1736804" y="3420833"/>
              <a:ext cx="68404" cy="68160"/>
            </a:xfrm>
            <a:custGeom>
              <a:avLst/>
              <a:gdLst>
                <a:gd name="connsiteX0" fmla="*/ 30090 w 68404"/>
                <a:gd name="connsiteY0" fmla="*/ 2042 h 68160"/>
                <a:gd name="connsiteX1" fmla="*/ 26362 w 68404"/>
                <a:gd name="connsiteY1" fmla="*/ 0 h 68160"/>
                <a:gd name="connsiteX2" fmla="*/ 4411 w 68404"/>
                <a:gd name="connsiteY2" fmla="*/ 0 h 68160"/>
                <a:gd name="connsiteX3" fmla="*/ 0 w 68404"/>
                <a:gd name="connsiteY3" fmla="*/ 4388 h 68160"/>
                <a:gd name="connsiteX4" fmla="*/ 0 w 68404"/>
                <a:gd name="connsiteY4" fmla="*/ 4388 h 68160"/>
                <a:gd name="connsiteX5" fmla="*/ 0 w 68404"/>
                <a:gd name="connsiteY5" fmla="*/ 63773 h 68160"/>
                <a:gd name="connsiteX6" fmla="*/ 4411 w 68404"/>
                <a:gd name="connsiteY6" fmla="*/ 68161 h 68160"/>
                <a:gd name="connsiteX7" fmla="*/ 64001 w 68404"/>
                <a:gd name="connsiteY7" fmla="*/ 68161 h 68160"/>
                <a:gd name="connsiteX8" fmla="*/ 68405 w 68404"/>
                <a:gd name="connsiteY8" fmla="*/ 63780 h 68160"/>
                <a:gd name="connsiteX9" fmla="*/ 67722 w 68404"/>
                <a:gd name="connsiteY9" fmla="*/ 61427 h 68160"/>
                <a:gd name="connsiteX10" fmla="*/ 8814 w 68404"/>
                <a:gd name="connsiteY10" fmla="*/ 59377 h 68160"/>
                <a:gd name="connsiteX11" fmla="*/ 8814 w 68404"/>
                <a:gd name="connsiteY11" fmla="*/ 8783 h 68160"/>
                <a:gd name="connsiteX12" fmla="*/ 23935 w 68404"/>
                <a:gd name="connsiteY12" fmla="*/ 8783 h 68160"/>
                <a:gd name="connsiteX13" fmla="*/ 56009 w 68404"/>
                <a:gd name="connsiteY13" fmla="*/ 59377 h 68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8404" h="68160">
                  <a:moveTo>
                    <a:pt x="30090" y="2042"/>
                  </a:moveTo>
                  <a:cubicBezTo>
                    <a:pt x="29283" y="775"/>
                    <a:pt x="27873" y="0"/>
                    <a:pt x="26362" y="0"/>
                  </a:cubicBezTo>
                  <a:lnTo>
                    <a:pt x="4411" y="0"/>
                  </a:lnTo>
                  <a:cubicBezTo>
                    <a:pt x="1976" y="0"/>
                    <a:pt x="7" y="1962"/>
                    <a:pt x="0" y="4388"/>
                  </a:cubicBezTo>
                  <a:cubicBezTo>
                    <a:pt x="0" y="4388"/>
                    <a:pt x="0" y="4388"/>
                    <a:pt x="0" y="4388"/>
                  </a:cubicBezTo>
                  <a:lnTo>
                    <a:pt x="0" y="63773"/>
                  </a:lnTo>
                  <a:cubicBezTo>
                    <a:pt x="0" y="66199"/>
                    <a:pt x="1976" y="68161"/>
                    <a:pt x="4411" y="68161"/>
                  </a:cubicBezTo>
                  <a:lnTo>
                    <a:pt x="64001" y="68161"/>
                  </a:lnTo>
                  <a:cubicBezTo>
                    <a:pt x="66436" y="68168"/>
                    <a:pt x="68405" y="66199"/>
                    <a:pt x="68405" y="63780"/>
                  </a:cubicBezTo>
                  <a:cubicBezTo>
                    <a:pt x="68405" y="62947"/>
                    <a:pt x="68172" y="62129"/>
                    <a:pt x="67722" y="61427"/>
                  </a:cubicBezTo>
                  <a:close/>
                  <a:moveTo>
                    <a:pt x="8814" y="59377"/>
                  </a:moveTo>
                  <a:lnTo>
                    <a:pt x="8814" y="8783"/>
                  </a:lnTo>
                  <a:lnTo>
                    <a:pt x="23935" y="8783"/>
                  </a:lnTo>
                  <a:lnTo>
                    <a:pt x="56009" y="59377"/>
                  </a:lnTo>
                  <a:close/>
                </a:path>
              </a:pathLst>
            </a:custGeom>
            <a:grpFill/>
            <a:ln w="726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30434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18"/>
          <p:cNvSpPr/>
          <p:nvPr>
            <p:custDataLst>
              <p:tags r:id="rId1"/>
            </p:custDataLst>
          </p:nvPr>
        </p:nvSpPr>
        <p:spPr bwMode="gray">
          <a:xfrm>
            <a:off x="477838" y="1592020"/>
            <a:ext cx="11504883" cy="1440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0" bIns="0" rtlCol="0" anchor="ctr" anchorCtr="0">
            <a:no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endParaRPr lang="fr-FR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9" name="ZoneTexte 28"/>
          <p:cNvSpPr txBox="1"/>
          <p:nvPr/>
        </p:nvSpPr>
        <p:spPr>
          <a:xfrm>
            <a:off x="874713" y="1847995"/>
            <a:ext cx="10944978" cy="10669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tabLst>
                <a:tab pos="9417050" algn="l"/>
              </a:tabLst>
            </a:pPr>
            <a:r>
              <a:rPr lang="fr-FR" sz="1500" dirty="0"/>
              <a:t>Je m’engage à </a:t>
            </a:r>
            <a:r>
              <a:rPr lang="fr-FR" sz="1500" b="1" dirty="0"/>
              <a:t>transmettre à titre gratuit l’ensemble des données dont je </a:t>
            </a:r>
            <a:r>
              <a:rPr lang="fr-FR" sz="1500" b="1" dirty="0" smtClean="0"/>
              <a:t>dispose </a:t>
            </a:r>
            <a:r>
              <a:rPr lang="fr-FR" sz="1500" dirty="0" smtClean="0"/>
              <a:t>;</a:t>
            </a:r>
            <a:endParaRPr lang="fr-FR" sz="1500" dirty="0"/>
          </a:p>
          <a:p>
            <a:pPr marL="285750" indent="-285750" algn="just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tabLst>
                <a:tab pos="9417050" algn="l"/>
              </a:tabLst>
            </a:pPr>
            <a:r>
              <a:rPr lang="fr-FR" sz="1500" dirty="0"/>
              <a:t>Je m’engage à informer</a:t>
            </a:r>
            <a:r>
              <a:rPr lang="fr-FR" sz="1500" b="1" dirty="0"/>
              <a:t> de nouveaux DAE localisés et non recensés dans la le portail </a:t>
            </a:r>
            <a:r>
              <a:rPr lang="fr-FR" sz="1500" b="1" dirty="0" err="1"/>
              <a:t>Géo’DAE</a:t>
            </a:r>
            <a:r>
              <a:rPr lang="fr-FR" sz="1500" b="1" dirty="0"/>
              <a:t> </a:t>
            </a:r>
            <a:r>
              <a:rPr lang="fr-FR" sz="1500" dirty="0" smtClean="0"/>
              <a:t>;</a:t>
            </a:r>
            <a:endParaRPr lang="fr-FR" sz="1500" dirty="0"/>
          </a:p>
          <a:p>
            <a:pPr marL="285750" indent="-285750" algn="just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tabLst>
                <a:tab pos="9417050" algn="l"/>
              </a:tabLst>
            </a:pPr>
            <a:r>
              <a:rPr lang="fr-FR" sz="1500" dirty="0"/>
              <a:t>Je m’engage à informer </a:t>
            </a:r>
            <a:r>
              <a:rPr lang="fr-FR" sz="1500" b="1" dirty="0"/>
              <a:t>des dysfonctionnements ou de mauvaises coordonnées de localisation de DAE déclarés dans </a:t>
            </a:r>
            <a:r>
              <a:rPr lang="fr-FR" sz="1500" b="1" dirty="0" err="1" smtClean="0"/>
              <a:t>Géo’DAE</a:t>
            </a:r>
            <a:r>
              <a:rPr lang="fr-FR" sz="1500" b="1" dirty="0" smtClean="0"/>
              <a:t>.</a:t>
            </a:r>
            <a:endParaRPr lang="fr-FR" sz="1500" dirty="0"/>
          </a:p>
        </p:txBody>
      </p:sp>
      <p:sp>
        <p:nvSpPr>
          <p:cNvPr id="3" name="Rectangle 2"/>
          <p:cNvSpPr/>
          <p:nvPr/>
        </p:nvSpPr>
        <p:spPr>
          <a:xfrm>
            <a:off x="1638269" y="185846"/>
            <a:ext cx="8712000" cy="43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suis un </a:t>
            </a:r>
            <a:r>
              <a:rPr lang="fr-FR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 </a:t>
            </a:r>
            <a:r>
              <a:rPr lang="fr-FR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fr-FR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urs </a:t>
            </a:r>
            <a:r>
              <a:rPr lang="fr-FR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d’aide médicale d’urgence, sous quelles conditions puis-je utiliser la marque ? </a:t>
            </a:r>
            <a:endParaRPr lang="fr-FR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Espace réservé du numéro de diapositive 1"/>
          <p:cNvSpPr>
            <a:spLocks noGrp="1"/>
          </p:cNvSpPr>
          <p:nvPr>
            <p:ph type="sldNum" sz="quarter" idx="12"/>
          </p:nvPr>
        </p:nvSpPr>
        <p:spPr>
          <a:xfrm>
            <a:off x="9863667" y="6523630"/>
            <a:ext cx="1799766" cy="324000"/>
          </a:xfrm>
        </p:spPr>
        <p:txBody>
          <a:bodyPr anchor="ctr"/>
          <a:lstStyle/>
          <a:p>
            <a:pPr algn="r" defTabSz="1219048">
              <a:buClrTx/>
              <a:buSzTx/>
              <a:defRPr/>
            </a:pPr>
            <a:fld id="{733122C9-A0B9-462F-8757-0847AD287B63}" type="slidenum">
              <a:rPr lang="fr-FR" sz="1050">
                <a:solidFill>
                  <a:srgbClr val="FFFFFF"/>
                </a:solidFill>
                <a:latin typeface="Arial"/>
                <a:ea typeface="+mn-ea"/>
                <a:cs typeface="+mn-cs"/>
              </a:rPr>
              <a:pPr algn="r" defTabSz="1219048">
                <a:buClrTx/>
                <a:buSzTx/>
                <a:defRPr/>
              </a:pPr>
              <a:t>3</a:t>
            </a:fld>
            <a:endParaRPr lang="fr-FR" sz="1050" dirty="0">
              <a:solidFill>
                <a:srgbClr val="FFFFFF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32" name="Rechteck 21"/>
          <p:cNvSpPr/>
          <p:nvPr>
            <p:custDataLst>
              <p:tags r:id="rId2"/>
            </p:custDataLst>
          </p:nvPr>
        </p:nvSpPr>
        <p:spPr bwMode="gray">
          <a:xfrm>
            <a:off x="477838" y="3957537"/>
            <a:ext cx="11504883" cy="1980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0" bIns="0" rtlCol="0" anchor="ctr" anchorCtr="0">
            <a:no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Clr>
                <a:srgbClr val="5F5F5F"/>
              </a:buClr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endParaRPr lang="fr-FR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0" name="Rechteck 19"/>
          <p:cNvSpPr/>
          <p:nvPr>
            <p:custDataLst>
              <p:tags r:id="rId3"/>
            </p:custDataLst>
          </p:nvPr>
        </p:nvSpPr>
        <p:spPr bwMode="gray">
          <a:xfrm>
            <a:off x="1146400" y="3497606"/>
            <a:ext cx="8280000" cy="540000"/>
          </a:xfrm>
          <a:prstGeom prst="round2DiagRect">
            <a:avLst/>
          </a:prstGeom>
          <a:solidFill>
            <a:srgbClr val="C00000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84656" tIns="0" rIns="86389" bIns="0" rtlCol="0" anchor="ctr"/>
          <a:lstStyle/>
          <a:p>
            <a:pPr marL="182563">
              <a:spcBef>
                <a:spcPct val="0"/>
              </a:spcBef>
              <a:buSzPct val="90000"/>
            </a:pPr>
            <a:r>
              <a:rPr lang="fr-FR" sz="1800" b="1" dirty="0">
                <a:solidFill>
                  <a:schemeClr val="bg1"/>
                </a:solidFill>
                <a:cs typeface="Arial" panose="020B0604020202020204" pitchFamily="34" charset="0"/>
              </a:rPr>
              <a:t>Je m’engage à utiliser la marque d’Etat et la base </a:t>
            </a:r>
            <a:r>
              <a:rPr lang="fr-FR" sz="1800" b="1" dirty="0" err="1">
                <a:solidFill>
                  <a:schemeClr val="bg1"/>
                </a:solidFill>
                <a:cs typeface="Arial" panose="020B0604020202020204" pitchFamily="34" charset="0"/>
              </a:rPr>
              <a:t>Géo’DAE</a:t>
            </a:r>
            <a:r>
              <a:rPr lang="fr-FR" sz="1800" b="1" dirty="0">
                <a:solidFill>
                  <a:schemeClr val="bg1"/>
                </a:solidFill>
                <a:cs typeface="Arial" panose="020B0604020202020204" pitchFamily="34" charset="0"/>
              </a:rPr>
              <a:t> uniquement dans le cadre de mes activités de Services de </a:t>
            </a:r>
            <a:r>
              <a:rPr lang="fr-FR" sz="18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Secours</a:t>
            </a:r>
            <a:endParaRPr lang="fr-FR" sz="18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D910C680-A94C-6A4A-A1C0-68776357678E}"/>
              </a:ext>
            </a:extLst>
          </p:cNvPr>
          <p:cNvSpPr>
            <a:spLocks noChangeAspect="1"/>
          </p:cNvSpPr>
          <p:nvPr/>
        </p:nvSpPr>
        <p:spPr bwMode="gray">
          <a:xfrm>
            <a:off x="301150" y="3265552"/>
            <a:ext cx="972001" cy="972000"/>
          </a:xfrm>
          <a:prstGeom prst="ellipse">
            <a:avLst/>
          </a:prstGeom>
          <a:solidFill>
            <a:srgbClr val="C00000"/>
          </a:solidFill>
          <a:ln w="571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0" tIns="0" rIns="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0" lang="fr-CA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21" name="Rectangle avec coins arrondis en diagonale 20">
            <a:extLst>
              <a:ext uri="{FF2B5EF4-FFF2-40B4-BE49-F238E27FC236}">
                <a16:creationId xmlns:a16="http://schemas.microsoft.com/office/drawing/2014/main" id="{E88DB530-21C2-EC48-AB99-4DFA630FA8C9}"/>
              </a:ext>
            </a:extLst>
          </p:cNvPr>
          <p:cNvSpPr/>
          <p:nvPr/>
        </p:nvSpPr>
        <p:spPr bwMode="gray">
          <a:xfrm>
            <a:off x="1146721" y="1113045"/>
            <a:ext cx="8280000" cy="540000"/>
          </a:xfrm>
          <a:prstGeom prst="round2DiagRect">
            <a:avLst/>
          </a:prstGeom>
          <a:solidFill>
            <a:srgbClr val="E97B7B"/>
          </a:solidFill>
          <a:ln w="38100" algn="ctr">
            <a:noFill/>
            <a:miter lim="800000"/>
            <a:headEnd/>
            <a:tailEnd/>
          </a:ln>
          <a:effectLst/>
        </p:spPr>
        <p:txBody>
          <a:bodyPr wrap="none" lIns="0" tIns="0" rIns="0" bIns="36000" rtlCol="0" anchor="ctr"/>
          <a:lstStyle/>
          <a:p>
            <a:pPr marL="288000"/>
            <a:r>
              <a:rPr lang="fr-FR" sz="1800" b="1" dirty="0">
                <a:solidFill>
                  <a:schemeClr val="bg1"/>
                </a:solidFill>
                <a:cs typeface="Arial" panose="020B0604020202020204" pitchFamily="34" charset="0"/>
              </a:rPr>
              <a:t>Je transmets à la base de données nationale les données dont </a:t>
            </a:r>
            <a:r>
              <a:rPr lang="fr-FR" sz="18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je </a:t>
            </a:r>
          </a:p>
          <a:p>
            <a:pPr marL="288000"/>
            <a:r>
              <a:rPr lang="fr-FR" sz="18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dispose</a:t>
            </a:r>
            <a:endParaRPr lang="fr-FR" sz="18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D910C680-A94C-6A4A-A1C0-68776357678E}"/>
              </a:ext>
            </a:extLst>
          </p:cNvPr>
          <p:cNvSpPr>
            <a:spLocks noChangeAspect="1"/>
          </p:cNvSpPr>
          <p:nvPr/>
        </p:nvSpPr>
        <p:spPr bwMode="gray">
          <a:xfrm>
            <a:off x="303119" y="950766"/>
            <a:ext cx="972001" cy="972000"/>
          </a:xfrm>
          <a:prstGeom prst="ellipse">
            <a:avLst/>
          </a:prstGeom>
          <a:solidFill>
            <a:srgbClr val="E97B7B"/>
          </a:solidFill>
          <a:ln w="571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0" tIns="0" rIns="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0" lang="fr-CA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34" name="ZoneTexte 33"/>
          <p:cNvSpPr txBox="1"/>
          <p:nvPr/>
        </p:nvSpPr>
        <p:spPr>
          <a:xfrm>
            <a:off x="874713" y="4084278"/>
            <a:ext cx="10891686" cy="1759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 smtClean="0">
                <a:latin typeface="Arial" pitchFamily="34" charset="0"/>
              </a:rPr>
              <a:t>Je m’engage à </a:t>
            </a:r>
            <a:r>
              <a:rPr lang="fr-FR" sz="1500" b="1" dirty="0" smtClean="0">
                <a:latin typeface="Arial" pitchFamily="34" charset="0"/>
              </a:rPr>
              <a:t>utiliser la marque « </a:t>
            </a:r>
            <a:r>
              <a:rPr lang="fr-FR" sz="1500" b="1" dirty="0" err="1" smtClean="0">
                <a:latin typeface="Arial" pitchFamily="34" charset="0"/>
              </a:rPr>
              <a:t>Géo’DAE</a:t>
            </a:r>
            <a:r>
              <a:rPr lang="fr-FR" sz="1500" b="1" dirty="0" smtClean="0">
                <a:latin typeface="Arial" pitchFamily="34" charset="0"/>
              </a:rPr>
              <a:t> – Base nationale des défibrillateurs » uniquement dans le cadre strict de mes activités de </a:t>
            </a:r>
            <a:r>
              <a:rPr lang="fr-FR" sz="1500" b="1" dirty="0" smtClean="0">
                <a:latin typeface="Arial" pitchFamily="34" charset="0"/>
              </a:rPr>
              <a:t>secours et d’aide médicale d’urgence </a:t>
            </a:r>
            <a:r>
              <a:rPr lang="fr-FR" sz="1500" dirty="0" smtClean="0">
                <a:latin typeface="Arial" pitchFamily="34" charset="0"/>
              </a:rPr>
              <a:t>;</a:t>
            </a:r>
          </a:p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 smtClean="0">
                <a:latin typeface="Arial" pitchFamily="34" charset="0"/>
              </a:rPr>
              <a:t>Je </a:t>
            </a:r>
            <a:r>
              <a:rPr lang="fr-FR" sz="1500" dirty="0">
                <a:latin typeface="Arial" pitchFamily="34" charset="0"/>
              </a:rPr>
              <a:t>consens à </a:t>
            </a:r>
            <a:r>
              <a:rPr lang="fr-FR" sz="1500" b="1" dirty="0">
                <a:latin typeface="Arial" pitchFamily="34" charset="0"/>
              </a:rPr>
              <a:t>n’utiliser les données personnelles portées à ma connaissance que dans le cadre strictement professionnel de mon activité « service de secours </a:t>
            </a:r>
            <a:r>
              <a:rPr lang="fr-FR" sz="1500" b="1" dirty="0" smtClean="0">
                <a:latin typeface="Arial" pitchFamily="34" charset="0"/>
              </a:rPr>
              <a:t>» </a:t>
            </a:r>
            <a:r>
              <a:rPr lang="fr-FR" sz="1500" dirty="0" smtClean="0">
                <a:latin typeface="Arial" pitchFamily="34" charset="0"/>
              </a:rPr>
              <a:t>;</a:t>
            </a:r>
            <a:endParaRPr lang="fr-FR" sz="1500" dirty="0">
              <a:latin typeface="Arial" pitchFamily="34" charset="0"/>
            </a:endParaRPr>
          </a:p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 smtClean="0">
                <a:latin typeface="Arial" pitchFamily="34" charset="0"/>
              </a:rPr>
              <a:t>Je m’engage </a:t>
            </a:r>
            <a:r>
              <a:rPr lang="fr-FR" sz="1500" dirty="0">
                <a:latin typeface="Arial" pitchFamily="34" charset="0"/>
              </a:rPr>
              <a:t>à </a:t>
            </a:r>
            <a:r>
              <a:rPr lang="fr-FR" sz="1500" b="1" dirty="0" smtClean="0">
                <a:latin typeface="Arial" pitchFamily="34" charset="0"/>
              </a:rPr>
              <a:t>informer les </a:t>
            </a:r>
            <a:r>
              <a:rPr lang="fr-FR" sz="1500" b="1" dirty="0">
                <a:latin typeface="Arial" pitchFamily="34" charset="0"/>
              </a:rPr>
              <a:t>équipes concernées </a:t>
            </a:r>
            <a:r>
              <a:rPr lang="fr-FR" sz="1500" b="1" dirty="0" smtClean="0">
                <a:latin typeface="Arial" pitchFamily="34" charset="0"/>
              </a:rPr>
              <a:t>par cette obligation </a:t>
            </a:r>
            <a:r>
              <a:rPr lang="fr-FR" sz="1500" b="1" dirty="0">
                <a:latin typeface="Arial" pitchFamily="34" charset="0"/>
              </a:rPr>
              <a:t>de ne pas </a:t>
            </a:r>
            <a:r>
              <a:rPr lang="fr-FR" sz="1500" b="1" dirty="0" smtClean="0">
                <a:latin typeface="Arial" pitchFamily="34" charset="0"/>
              </a:rPr>
              <a:t>diffuser des données personnelles à </a:t>
            </a:r>
            <a:r>
              <a:rPr lang="fr-FR" sz="1500" b="1" dirty="0">
                <a:latin typeface="Arial" pitchFamily="34" charset="0"/>
              </a:rPr>
              <a:t>des personnes extérieures</a:t>
            </a:r>
            <a:r>
              <a:rPr lang="fr-FR" sz="1500" dirty="0">
                <a:latin typeface="Arial" pitchFamily="34" charset="0"/>
              </a:rPr>
              <a:t> et ce, conformément au Règlement Européen sur la Protection des données et à la Loi Informatique et Libertés.</a:t>
            </a:r>
          </a:p>
        </p:txBody>
      </p:sp>
      <p:grpSp>
        <p:nvGrpSpPr>
          <p:cNvPr id="14" name="Group 1182">
            <a:extLst>
              <a:ext uri="{FF2B5EF4-FFF2-40B4-BE49-F238E27FC236}">
                <a16:creationId xmlns:a16="http://schemas.microsoft.com/office/drawing/2014/main" id="{5FDFEB1D-25BC-4D4B-B2BA-EB4472942B60}"/>
              </a:ext>
            </a:extLst>
          </p:cNvPr>
          <p:cNvGrpSpPr>
            <a:grpSpLocks noChangeAspect="1"/>
          </p:cNvGrpSpPr>
          <p:nvPr/>
        </p:nvGrpSpPr>
        <p:grpSpPr>
          <a:xfrm>
            <a:off x="401128" y="1229470"/>
            <a:ext cx="729920" cy="432000"/>
            <a:chOff x="1486666" y="3380815"/>
            <a:chExt cx="363979" cy="215419"/>
          </a:xfrm>
          <a:solidFill>
            <a:schemeClr val="bg1"/>
          </a:solidFill>
        </p:grpSpPr>
        <p:sp>
          <p:nvSpPr>
            <p:cNvPr id="15" name="Freeform 27">
              <a:extLst>
                <a:ext uri="{FF2B5EF4-FFF2-40B4-BE49-F238E27FC236}">
                  <a16:creationId xmlns:a16="http://schemas.microsoft.com/office/drawing/2014/main" id="{380CAC1D-CE3A-9E4D-A9BE-F519F6E183E8}"/>
                </a:ext>
              </a:extLst>
            </p:cNvPr>
            <p:cNvSpPr/>
            <p:nvPr/>
          </p:nvSpPr>
          <p:spPr>
            <a:xfrm>
              <a:off x="1582737" y="3427821"/>
              <a:ext cx="82915" cy="82635"/>
            </a:xfrm>
            <a:custGeom>
              <a:avLst/>
              <a:gdLst>
                <a:gd name="connsiteX0" fmla="*/ 78512 w 82915"/>
                <a:gd name="connsiteY0" fmla="*/ 26025 h 82635"/>
                <a:gd name="connsiteX1" fmla="*/ 56808 w 82915"/>
                <a:gd name="connsiteY1" fmla="*/ 26025 h 82635"/>
                <a:gd name="connsiteX2" fmla="*/ 56808 w 82915"/>
                <a:gd name="connsiteY2" fmla="*/ 4395 h 82635"/>
                <a:gd name="connsiteX3" fmla="*/ 52397 w 82915"/>
                <a:gd name="connsiteY3" fmla="*/ 0 h 82635"/>
                <a:gd name="connsiteX4" fmla="*/ 30518 w 82915"/>
                <a:gd name="connsiteY4" fmla="*/ 0 h 82635"/>
                <a:gd name="connsiteX5" fmla="*/ 26115 w 82915"/>
                <a:gd name="connsiteY5" fmla="*/ 4395 h 82635"/>
                <a:gd name="connsiteX6" fmla="*/ 26115 w 82915"/>
                <a:gd name="connsiteY6" fmla="*/ 26025 h 82635"/>
                <a:gd name="connsiteX7" fmla="*/ 4403 w 82915"/>
                <a:gd name="connsiteY7" fmla="*/ 26025 h 82635"/>
                <a:gd name="connsiteX8" fmla="*/ 0 w 82915"/>
                <a:gd name="connsiteY8" fmla="*/ 30413 h 82635"/>
                <a:gd name="connsiteX9" fmla="*/ 0 w 82915"/>
                <a:gd name="connsiteY9" fmla="*/ 52223 h 82635"/>
                <a:gd name="connsiteX10" fmla="*/ 4403 w 82915"/>
                <a:gd name="connsiteY10" fmla="*/ 56611 h 82635"/>
                <a:gd name="connsiteX11" fmla="*/ 26115 w 82915"/>
                <a:gd name="connsiteY11" fmla="*/ 56611 h 82635"/>
                <a:gd name="connsiteX12" fmla="*/ 26115 w 82915"/>
                <a:gd name="connsiteY12" fmla="*/ 78241 h 82635"/>
                <a:gd name="connsiteX13" fmla="*/ 30518 w 82915"/>
                <a:gd name="connsiteY13" fmla="*/ 82636 h 82635"/>
                <a:gd name="connsiteX14" fmla="*/ 52397 w 82915"/>
                <a:gd name="connsiteY14" fmla="*/ 82636 h 82635"/>
                <a:gd name="connsiteX15" fmla="*/ 56808 w 82915"/>
                <a:gd name="connsiteY15" fmla="*/ 78241 h 82635"/>
                <a:gd name="connsiteX16" fmla="*/ 56808 w 82915"/>
                <a:gd name="connsiteY16" fmla="*/ 56611 h 82635"/>
                <a:gd name="connsiteX17" fmla="*/ 78512 w 82915"/>
                <a:gd name="connsiteY17" fmla="*/ 56611 h 82635"/>
                <a:gd name="connsiteX18" fmla="*/ 82916 w 82915"/>
                <a:gd name="connsiteY18" fmla="*/ 52223 h 82635"/>
                <a:gd name="connsiteX19" fmla="*/ 82916 w 82915"/>
                <a:gd name="connsiteY19" fmla="*/ 30413 h 82635"/>
                <a:gd name="connsiteX20" fmla="*/ 78512 w 82915"/>
                <a:gd name="connsiteY20" fmla="*/ 26025 h 82635"/>
                <a:gd name="connsiteX21" fmla="*/ 74109 w 82915"/>
                <a:gd name="connsiteY21" fmla="*/ 47828 h 82635"/>
                <a:gd name="connsiteX22" fmla="*/ 52397 w 82915"/>
                <a:gd name="connsiteY22" fmla="*/ 47828 h 82635"/>
                <a:gd name="connsiteX23" fmla="*/ 47994 w 82915"/>
                <a:gd name="connsiteY23" fmla="*/ 52216 h 82635"/>
                <a:gd name="connsiteX24" fmla="*/ 47994 w 82915"/>
                <a:gd name="connsiteY24" fmla="*/ 52216 h 82635"/>
                <a:gd name="connsiteX25" fmla="*/ 47994 w 82915"/>
                <a:gd name="connsiteY25" fmla="*/ 73852 h 82635"/>
                <a:gd name="connsiteX26" fmla="*/ 34922 w 82915"/>
                <a:gd name="connsiteY26" fmla="*/ 73852 h 82635"/>
                <a:gd name="connsiteX27" fmla="*/ 34922 w 82915"/>
                <a:gd name="connsiteY27" fmla="*/ 52223 h 82635"/>
                <a:gd name="connsiteX28" fmla="*/ 30518 w 82915"/>
                <a:gd name="connsiteY28" fmla="*/ 47828 h 82635"/>
                <a:gd name="connsiteX29" fmla="*/ 30518 w 82915"/>
                <a:gd name="connsiteY29" fmla="*/ 47828 h 82635"/>
                <a:gd name="connsiteX30" fmla="*/ 8807 w 82915"/>
                <a:gd name="connsiteY30" fmla="*/ 47828 h 82635"/>
                <a:gd name="connsiteX31" fmla="*/ 8807 w 82915"/>
                <a:gd name="connsiteY31" fmla="*/ 34801 h 82635"/>
                <a:gd name="connsiteX32" fmla="*/ 30518 w 82915"/>
                <a:gd name="connsiteY32" fmla="*/ 34801 h 82635"/>
                <a:gd name="connsiteX33" fmla="*/ 34922 w 82915"/>
                <a:gd name="connsiteY33" fmla="*/ 30420 h 82635"/>
                <a:gd name="connsiteX34" fmla="*/ 34922 w 82915"/>
                <a:gd name="connsiteY34" fmla="*/ 30413 h 82635"/>
                <a:gd name="connsiteX35" fmla="*/ 34922 w 82915"/>
                <a:gd name="connsiteY35" fmla="*/ 8783 h 82635"/>
                <a:gd name="connsiteX36" fmla="*/ 47994 w 82915"/>
                <a:gd name="connsiteY36" fmla="*/ 8783 h 82635"/>
                <a:gd name="connsiteX37" fmla="*/ 47994 w 82915"/>
                <a:gd name="connsiteY37" fmla="*/ 30413 h 82635"/>
                <a:gd name="connsiteX38" fmla="*/ 52397 w 82915"/>
                <a:gd name="connsiteY38" fmla="*/ 34801 h 82635"/>
                <a:gd name="connsiteX39" fmla="*/ 52397 w 82915"/>
                <a:gd name="connsiteY39" fmla="*/ 34801 h 82635"/>
                <a:gd name="connsiteX40" fmla="*/ 74109 w 82915"/>
                <a:gd name="connsiteY40" fmla="*/ 34801 h 82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82915" h="82635">
                  <a:moveTo>
                    <a:pt x="78512" y="26025"/>
                  </a:moveTo>
                  <a:lnTo>
                    <a:pt x="56808" y="26025"/>
                  </a:lnTo>
                  <a:lnTo>
                    <a:pt x="56808" y="4395"/>
                  </a:lnTo>
                  <a:cubicBezTo>
                    <a:pt x="56808" y="1970"/>
                    <a:pt x="54831" y="0"/>
                    <a:pt x="52397" y="0"/>
                  </a:cubicBezTo>
                  <a:lnTo>
                    <a:pt x="30518" y="0"/>
                  </a:lnTo>
                  <a:cubicBezTo>
                    <a:pt x="28084" y="0"/>
                    <a:pt x="26115" y="1970"/>
                    <a:pt x="26115" y="4395"/>
                  </a:cubicBezTo>
                  <a:lnTo>
                    <a:pt x="26115" y="26025"/>
                  </a:lnTo>
                  <a:lnTo>
                    <a:pt x="4403" y="26025"/>
                  </a:lnTo>
                  <a:cubicBezTo>
                    <a:pt x="1969" y="26025"/>
                    <a:pt x="0" y="27987"/>
                    <a:pt x="0" y="30413"/>
                  </a:cubicBezTo>
                  <a:lnTo>
                    <a:pt x="0" y="52223"/>
                  </a:lnTo>
                  <a:cubicBezTo>
                    <a:pt x="0" y="54642"/>
                    <a:pt x="1969" y="56611"/>
                    <a:pt x="4403" y="56611"/>
                  </a:cubicBezTo>
                  <a:lnTo>
                    <a:pt x="26115" y="56611"/>
                  </a:lnTo>
                  <a:lnTo>
                    <a:pt x="26115" y="78241"/>
                  </a:lnTo>
                  <a:cubicBezTo>
                    <a:pt x="26115" y="80666"/>
                    <a:pt x="28084" y="82629"/>
                    <a:pt x="30518" y="82636"/>
                  </a:cubicBezTo>
                  <a:lnTo>
                    <a:pt x="52397" y="82636"/>
                  </a:lnTo>
                  <a:cubicBezTo>
                    <a:pt x="54831" y="82629"/>
                    <a:pt x="56808" y="80666"/>
                    <a:pt x="56808" y="78241"/>
                  </a:cubicBezTo>
                  <a:lnTo>
                    <a:pt x="56808" y="56611"/>
                  </a:lnTo>
                  <a:lnTo>
                    <a:pt x="78512" y="56611"/>
                  </a:lnTo>
                  <a:cubicBezTo>
                    <a:pt x="80946" y="56611"/>
                    <a:pt x="82916" y="54642"/>
                    <a:pt x="82916" y="52223"/>
                  </a:cubicBezTo>
                  <a:lnTo>
                    <a:pt x="82916" y="30413"/>
                  </a:lnTo>
                  <a:cubicBezTo>
                    <a:pt x="82916" y="27987"/>
                    <a:pt x="80946" y="26025"/>
                    <a:pt x="78512" y="26025"/>
                  </a:cubicBezTo>
                  <a:close/>
                  <a:moveTo>
                    <a:pt x="74109" y="47828"/>
                  </a:moveTo>
                  <a:lnTo>
                    <a:pt x="52397" y="47828"/>
                  </a:lnTo>
                  <a:cubicBezTo>
                    <a:pt x="49963" y="47828"/>
                    <a:pt x="47994" y="49797"/>
                    <a:pt x="47994" y="52216"/>
                  </a:cubicBezTo>
                  <a:cubicBezTo>
                    <a:pt x="47994" y="52216"/>
                    <a:pt x="47994" y="52216"/>
                    <a:pt x="47994" y="52216"/>
                  </a:cubicBezTo>
                  <a:lnTo>
                    <a:pt x="47994" y="73852"/>
                  </a:lnTo>
                  <a:lnTo>
                    <a:pt x="34922" y="73852"/>
                  </a:lnTo>
                  <a:lnTo>
                    <a:pt x="34922" y="52223"/>
                  </a:lnTo>
                  <a:cubicBezTo>
                    <a:pt x="34922" y="49797"/>
                    <a:pt x="32953" y="47828"/>
                    <a:pt x="30518" y="47828"/>
                  </a:cubicBezTo>
                  <a:cubicBezTo>
                    <a:pt x="30518" y="47828"/>
                    <a:pt x="30518" y="47828"/>
                    <a:pt x="30518" y="47828"/>
                  </a:cubicBezTo>
                  <a:lnTo>
                    <a:pt x="8807" y="47828"/>
                  </a:lnTo>
                  <a:lnTo>
                    <a:pt x="8807" y="34801"/>
                  </a:lnTo>
                  <a:lnTo>
                    <a:pt x="30518" y="34801"/>
                  </a:lnTo>
                  <a:cubicBezTo>
                    <a:pt x="32945" y="34801"/>
                    <a:pt x="34922" y="32839"/>
                    <a:pt x="34922" y="30420"/>
                  </a:cubicBezTo>
                  <a:cubicBezTo>
                    <a:pt x="34922" y="30420"/>
                    <a:pt x="34922" y="30413"/>
                    <a:pt x="34922" y="30413"/>
                  </a:cubicBezTo>
                  <a:lnTo>
                    <a:pt x="34922" y="8783"/>
                  </a:lnTo>
                  <a:lnTo>
                    <a:pt x="47994" y="8783"/>
                  </a:lnTo>
                  <a:lnTo>
                    <a:pt x="47994" y="30413"/>
                  </a:lnTo>
                  <a:cubicBezTo>
                    <a:pt x="47994" y="32839"/>
                    <a:pt x="49963" y="34801"/>
                    <a:pt x="52397" y="34801"/>
                  </a:cubicBezTo>
                  <a:cubicBezTo>
                    <a:pt x="52397" y="34801"/>
                    <a:pt x="52397" y="34801"/>
                    <a:pt x="52397" y="34801"/>
                  </a:cubicBezTo>
                  <a:lnTo>
                    <a:pt x="74109" y="34801"/>
                  </a:lnTo>
                  <a:close/>
                </a:path>
              </a:pathLst>
            </a:custGeom>
            <a:grpFill/>
            <a:ln w="726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 28">
              <a:extLst>
                <a:ext uri="{FF2B5EF4-FFF2-40B4-BE49-F238E27FC236}">
                  <a16:creationId xmlns:a16="http://schemas.microsoft.com/office/drawing/2014/main" id="{27781A96-1E3D-DB4F-8E70-9FE3D6FBBEAE}"/>
                </a:ext>
              </a:extLst>
            </p:cNvPr>
            <p:cNvSpPr/>
            <p:nvPr/>
          </p:nvSpPr>
          <p:spPr>
            <a:xfrm>
              <a:off x="1486666" y="3380815"/>
              <a:ext cx="363979" cy="215419"/>
            </a:xfrm>
            <a:custGeom>
              <a:avLst/>
              <a:gdLst>
                <a:gd name="connsiteX0" fmla="*/ 349963 w 363979"/>
                <a:gd name="connsiteY0" fmla="*/ 149331 h 215419"/>
                <a:gd name="connsiteX1" fmla="*/ 349963 w 363979"/>
                <a:gd name="connsiteY1" fmla="*/ 113075 h 215419"/>
                <a:gd name="connsiteX2" fmla="*/ 345508 w 363979"/>
                <a:gd name="connsiteY2" fmla="*/ 97448 h 215419"/>
                <a:gd name="connsiteX3" fmla="*/ 302005 w 363979"/>
                <a:gd name="connsiteY3" fmla="*/ 27202 h 215419"/>
                <a:gd name="connsiteX4" fmla="*/ 280977 w 363979"/>
                <a:gd name="connsiteY4" fmla="*/ 15511 h 215419"/>
                <a:gd name="connsiteX5" fmla="*/ 242661 w 363979"/>
                <a:gd name="connsiteY5" fmla="*/ 15511 h 215419"/>
                <a:gd name="connsiteX6" fmla="*/ 242661 w 363979"/>
                <a:gd name="connsiteY6" fmla="*/ 4391 h 215419"/>
                <a:gd name="connsiteX7" fmla="*/ 238265 w 363979"/>
                <a:gd name="connsiteY7" fmla="*/ 0 h 215419"/>
                <a:gd name="connsiteX8" fmla="*/ 238258 w 363979"/>
                <a:gd name="connsiteY8" fmla="*/ 0 h 215419"/>
                <a:gd name="connsiteX9" fmla="*/ 209890 w 363979"/>
                <a:gd name="connsiteY9" fmla="*/ 0 h 215419"/>
                <a:gd name="connsiteX10" fmla="*/ 205487 w 363979"/>
                <a:gd name="connsiteY10" fmla="*/ 4388 h 215419"/>
                <a:gd name="connsiteX11" fmla="*/ 205487 w 363979"/>
                <a:gd name="connsiteY11" fmla="*/ 4391 h 215419"/>
                <a:gd name="connsiteX12" fmla="*/ 205487 w 363979"/>
                <a:gd name="connsiteY12" fmla="*/ 15511 h 215419"/>
                <a:gd name="connsiteX13" fmla="*/ 38735 w 363979"/>
                <a:gd name="connsiteY13" fmla="*/ 15511 h 215419"/>
                <a:gd name="connsiteX14" fmla="*/ 14018 w 363979"/>
                <a:gd name="connsiteY14" fmla="*/ 40135 h 215419"/>
                <a:gd name="connsiteX15" fmla="*/ 14018 w 363979"/>
                <a:gd name="connsiteY15" fmla="*/ 149331 h 215419"/>
                <a:gd name="connsiteX16" fmla="*/ 0 w 363979"/>
                <a:gd name="connsiteY16" fmla="*/ 167159 h 215419"/>
                <a:gd name="connsiteX17" fmla="*/ 0 w 363979"/>
                <a:gd name="connsiteY17" fmla="*/ 173307 h 215419"/>
                <a:gd name="connsiteX18" fmla="*/ 18425 w 363979"/>
                <a:gd name="connsiteY18" fmla="*/ 191670 h 215419"/>
                <a:gd name="connsiteX19" fmla="*/ 59544 w 363979"/>
                <a:gd name="connsiteY19" fmla="*/ 191670 h 215419"/>
                <a:gd name="connsiteX20" fmla="*/ 89110 w 363979"/>
                <a:gd name="connsiteY20" fmla="*/ 215255 h 215419"/>
                <a:gd name="connsiteX21" fmla="*/ 112784 w 363979"/>
                <a:gd name="connsiteY21" fmla="*/ 191670 h 215419"/>
                <a:gd name="connsiteX22" fmla="*/ 235199 w 363979"/>
                <a:gd name="connsiteY22" fmla="*/ 191670 h 215419"/>
                <a:gd name="connsiteX23" fmla="*/ 264765 w 363979"/>
                <a:gd name="connsiteY23" fmla="*/ 215255 h 215419"/>
                <a:gd name="connsiteX24" fmla="*/ 288439 w 363979"/>
                <a:gd name="connsiteY24" fmla="*/ 191670 h 215419"/>
                <a:gd name="connsiteX25" fmla="*/ 345552 w 363979"/>
                <a:gd name="connsiteY25" fmla="*/ 191670 h 215419"/>
                <a:gd name="connsiteX26" fmla="*/ 363979 w 363979"/>
                <a:gd name="connsiteY26" fmla="*/ 173307 h 215419"/>
                <a:gd name="connsiteX27" fmla="*/ 363979 w 363979"/>
                <a:gd name="connsiteY27" fmla="*/ 167159 h 215419"/>
                <a:gd name="connsiteX28" fmla="*/ 349963 w 363979"/>
                <a:gd name="connsiteY28" fmla="*/ 149331 h 215419"/>
                <a:gd name="connsiteX29" fmla="*/ 214294 w 363979"/>
                <a:gd name="connsiteY29" fmla="*/ 8783 h 215419"/>
                <a:gd name="connsiteX30" fmla="*/ 233855 w 363979"/>
                <a:gd name="connsiteY30" fmla="*/ 8783 h 215419"/>
                <a:gd name="connsiteX31" fmla="*/ 233855 w 363979"/>
                <a:gd name="connsiteY31" fmla="*/ 15511 h 215419"/>
                <a:gd name="connsiteX32" fmla="*/ 214294 w 363979"/>
                <a:gd name="connsiteY32" fmla="*/ 15511 h 215419"/>
                <a:gd name="connsiteX33" fmla="*/ 86160 w 363979"/>
                <a:gd name="connsiteY33" fmla="*/ 206638 h 215419"/>
                <a:gd name="connsiteX34" fmla="*/ 68045 w 363979"/>
                <a:gd name="connsiteY34" fmla="*/ 188578 h 215419"/>
                <a:gd name="connsiteX35" fmla="*/ 68074 w 363979"/>
                <a:gd name="connsiteY35" fmla="*/ 187948 h 215419"/>
                <a:gd name="connsiteX36" fmla="*/ 68103 w 363979"/>
                <a:gd name="connsiteY36" fmla="*/ 187528 h 215419"/>
                <a:gd name="connsiteX37" fmla="*/ 87185 w 363979"/>
                <a:gd name="connsiteY37" fmla="*/ 170548 h 215419"/>
                <a:gd name="connsiteX38" fmla="*/ 104224 w 363979"/>
                <a:gd name="connsiteY38" fmla="*/ 187528 h 215419"/>
                <a:gd name="connsiteX39" fmla="*/ 104253 w 363979"/>
                <a:gd name="connsiteY39" fmla="*/ 187948 h 215419"/>
                <a:gd name="connsiteX40" fmla="*/ 104282 w 363979"/>
                <a:gd name="connsiteY40" fmla="*/ 188578 h 215419"/>
                <a:gd name="connsiteX41" fmla="*/ 86160 w 363979"/>
                <a:gd name="connsiteY41" fmla="*/ 206638 h 215419"/>
                <a:gd name="connsiteX42" fmla="*/ 261815 w 363979"/>
                <a:gd name="connsiteY42" fmla="*/ 206638 h 215419"/>
                <a:gd name="connsiteX43" fmla="*/ 243693 w 363979"/>
                <a:gd name="connsiteY43" fmla="*/ 188578 h 215419"/>
                <a:gd name="connsiteX44" fmla="*/ 243730 w 363979"/>
                <a:gd name="connsiteY44" fmla="*/ 187934 h 215419"/>
                <a:gd name="connsiteX45" fmla="*/ 243751 w 363979"/>
                <a:gd name="connsiteY45" fmla="*/ 187528 h 215419"/>
                <a:gd name="connsiteX46" fmla="*/ 262840 w 363979"/>
                <a:gd name="connsiteY46" fmla="*/ 170548 h 215419"/>
                <a:gd name="connsiteX47" fmla="*/ 279879 w 363979"/>
                <a:gd name="connsiteY47" fmla="*/ 187528 h 215419"/>
                <a:gd name="connsiteX48" fmla="*/ 279879 w 363979"/>
                <a:gd name="connsiteY48" fmla="*/ 187528 h 215419"/>
                <a:gd name="connsiteX49" fmla="*/ 279901 w 363979"/>
                <a:gd name="connsiteY49" fmla="*/ 187934 h 215419"/>
                <a:gd name="connsiteX50" fmla="*/ 279937 w 363979"/>
                <a:gd name="connsiteY50" fmla="*/ 188578 h 215419"/>
                <a:gd name="connsiteX51" fmla="*/ 261815 w 363979"/>
                <a:gd name="connsiteY51" fmla="*/ 206638 h 215419"/>
                <a:gd name="connsiteX52" fmla="*/ 355165 w 363979"/>
                <a:gd name="connsiteY52" fmla="*/ 173307 h 215419"/>
                <a:gd name="connsiteX53" fmla="*/ 345552 w 363979"/>
                <a:gd name="connsiteY53" fmla="*/ 182887 h 215419"/>
                <a:gd name="connsiteX54" fmla="*/ 288112 w 363979"/>
                <a:gd name="connsiteY54" fmla="*/ 182887 h 215419"/>
                <a:gd name="connsiteX55" fmla="*/ 287945 w 363979"/>
                <a:gd name="connsiteY55" fmla="*/ 182344 h 215419"/>
                <a:gd name="connsiteX56" fmla="*/ 287385 w 363979"/>
                <a:gd name="connsiteY56" fmla="*/ 180526 h 215419"/>
                <a:gd name="connsiteX57" fmla="*/ 286375 w 363979"/>
                <a:gd name="connsiteY57" fmla="*/ 177745 h 215419"/>
                <a:gd name="connsiteX58" fmla="*/ 285482 w 363979"/>
                <a:gd name="connsiteY58" fmla="*/ 175993 h 215419"/>
                <a:gd name="connsiteX59" fmla="*/ 284036 w 363979"/>
                <a:gd name="connsiteY59" fmla="*/ 173567 h 215419"/>
                <a:gd name="connsiteX60" fmla="*/ 282851 w 363979"/>
                <a:gd name="connsiteY60" fmla="*/ 171974 h 215419"/>
                <a:gd name="connsiteX61" fmla="*/ 281006 w 363979"/>
                <a:gd name="connsiteY61" fmla="*/ 169882 h 215419"/>
                <a:gd name="connsiteX62" fmla="*/ 279581 w 363979"/>
                <a:gd name="connsiteY62" fmla="*/ 168513 h 215419"/>
                <a:gd name="connsiteX63" fmla="*/ 277365 w 363979"/>
                <a:gd name="connsiteY63" fmla="*/ 166782 h 215419"/>
                <a:gd name="connsiteX64" fmla="*/ 275752 w 363979"/>
                <a:gd name="connsiteY64" fmla="*/ 165689 h 215419"/>
                <a:gd name="connsiteX65" fmla="*/ 273158 w 363979"/>
                <a:gd name="connsiteY65" fmla="*/ 164342 h 215419"/>
                <a:gd name="connsiteX66" fmla="*/ 271458 w 363979"/>
                <a:gd name="connsiteY66" fmla="*/ 163560 h 215419"/>
                <a:gd name="connsiteX67" fmla="*/ 268340 w 363979"/>
                <a:gd name="connsiteY67" fmla="*/ 162633 h 215419"/>
                <a:gd name="connsiteX68" fmla="*/ 266793 w 363979"/>
                <a:gd name="connsiteY68" fmla="*/ 162220 h 215419"/>
                <a:gd name="connsiteX69" fmla="*/ 256845 w 363979"/>
                <a:gd name="connsiteY69" fmla="*/ 162220 h 215419"/>
                <a:gd name="connsiteX70" fmla="*/ 255290 w 363979"/>
                <a:gd name="connsiteY70" fmla="*/ 162633 h 215419"/>
                <a:gd name="connsiteX71" fmla="*/ 252173 w 363979"/>
                <a:gd name="connsiteY71" fmla="*/ 163560 h 215419"/>
                <a:gd name="connsiteX72" fmla="*/ 250465 w 363979"/>
                <a:gd name="connsiteY72" fmla="*/ 164349 h 215419"/>
                <a:gd name="connsiteX73" fmla="*/ 247879 w 363979"/>
                <a:gd name="connsiteY73" fmla="*/ 165689 h 215419"/>
                <a:gd name="connsiteX74" fmla="*/ 246258 w 363979"/>
                <a:gd name="connsiteY74" fmla="*/ 166790 h 215419"/>
                <a:gd name="connsiteX75" fmla="*/ 244056 w 363979"/>
                <a:gd name="connsiteY75" fmla="*/ 168513 h 215419"/>
                <a:gd name="connsiteX76" fmla="*/ 242618 w 363979"/>
                <a:gd name="connsiteY76" fmla="*/ 169896 h 215419"/>
                <a:gd name="connsiteX77" fmla="*/ 240794 w 363979"/>
                <a:gd name="connsiteY77" fmla="*/ 171960 h 215419"/>
                <a:gd name="connsiteX78" fmla="*/ 239595 w 363979"/>
                <a:gd name="connsiteY78" fmla="*/ 173575 h 215419"/>
                <a:gd name="connsiteX79" fmla="*/ 238156 w 363979"/>
                <a:gd name="connsiteY79" fmla="*/ 175979 h 215419"/>
                <a:gd name="connsiteX80" fmla="*/ 237255 w 363979"/>
                <a:gd name="connsiteY80" fmla="*/ 177753 h 215419"/>
                <a:gd name="connsiteX81" fmla="*/ 236260 w 363979"/>
                <a:gd name="connsiteY81" fmla="*/ 180504 h 215419"/>
                <a:gd name="connsiteX82" fmla="*/ 235686 w 363979"/>
                <a:gd name="connsiteY82" fmla="*/ 182351 h 215419"/>
                <a:gd name="connsiteX83" fmla="*/ 235519 w 363979"/>
                <a:gd name="connsiteY83" fmla="*/ 182887 h 215419"/>
                <a:gd name="connsiteX84" fmla="*/ 112457 w 363979"/>
                <a:gd name="connsiteY84" fmla="*/ 182887 h 215419"/>
                <a:gd name="connsiteX85" fmla="*/ 112290 w 363979"/>
                <a:gd name="connsiteY85" fmla="*/ 182351 h 215419"/>
                <a:gd name="connsiteX86" fmla="*/ 111723 w 363979"/>
                <a:gd name="connsiteY86" fmla="*/ 180504 h 215419"/>
                <a:gd name="connsiteX87" fmla="*/ 110727 w 363979"/>
                <a:gd name="connsiteY87" fmla="*/ 177753 h 215419"/>
                <a:gd name="connsiteX88" fmla="*/ 109819 w 363979"/>
                <a:gd name="connsiteY88" fmla="*/ 175971 h 215419"/>
                <a:gd name="connsiteX89" fmla="*/ 108388 w 363979"/>
                <a:gd name="connsiteY89" fmla="*/ 173575 h 215419"/>
                <a:gd name="connsiteX90" fmla="*/ 107189 w 363979"/>
                <a:gd name="connsiteY90" fmla="*/ 171960 h 215419"/>
                <a:gd name="connsiteX91" fmla="*/ 105365 w 363979"/>
                <a:gd name="connsiteY91" fmla="*/ 169896 h 215419"/>
                <a:gd name="connsiteX92" fmla="*/ 103919 w 363979"/>
                <a:gd name="connsiteY92" fmla="*/ 168506 h 215419"/>
                <a:gd name="connsiteX93" fmla="*/ 101724 w 363979"/>
                <a:gd name="connsiteY93" fmla="*/ 166797 h 215419"/>
                <a:gd name="connsiteX94" fmla="*/ 100097 w 363979"/>
                <a:gd name="connsiteY94" fmla="*/ 165682 h 215419"/>
                <a:gd name="connsiteX95" fmla="*/ 97517 w 363979"/>
                <a:gd name="connsiteY95" fmla="*/ 164349 h 215419"/>
                <a:gd name="connsiteX96" fmla="*/ 95802 w 363979"/>
                <a:gd name="connsiteY96" fmla="*/ 163560 h 215419"/>
                <a:gd name="connsiteX97" fmla="*/ 92692 w 363979"/>
                <a:gd name="connsiteY97" fmla="*/ 162633 h 215419"/>
                <a:gd name="connsiteX98" fmla="*/ 91137 w 363979"/>
                <a:gd name="connsiteY98" fmla="*/ 162220 h 215419"/>
                <a:gd name="connsiteX99" fmla="*/ 81190 w 363979"/>
                <a:gd name="connsiteY99" fmla="*/ 162220 h 215419"/>
                <a:gd name="connsiteX100" fmla="*/ 79635 w 363979"/>
                <a:gd name="connsiteY100" fmla="*/ 162633 h 215419"/>
                <a:gd name="connsiteX101" fmla="*/ 76518 w 363979"/>
                <a:gd name="connsiteY101" fmla="*/ 163560 h 215419"/>
                <a:gd name="connsiteX102" fmla="*/ 74817 w 363979"/>
                <a:gd name="connsiteY102" fmla="*/ 164342 h 215419"/>
                <a:gd name="connsiteX103" fmla="*/ 72223 w 363979"/>
                <a:gd name="connsiteY103" fmla="*/ 165689 h 215419"/>
                <a:gd name="connsiteX104" fmla="*/ 70610 w 363979"/>
                <a:gd name="connsiteY104" fmla="*/ 166790 h 215419"/>
                <a:gd name="connsiteX105" fmla="*/ 68401 w 363979"/>
                <a:gd name="connsiteY105" fmla="*/ 168513 h 215419"/>
                <a:gd name="connsiteX106" fmla="*/ 66974 w 363979"/>
                <a:gd name="connsiteY106" fmla="*/ 169889 h 215419"/>
                <a:gd name="connsiteX107" fmla="*/ 65131 w 363979"/>
                <a:gd name="connsiteY107" fmla="*/ 171974 h 215419"/>
                <a:gd name="connsiteX108" fmla="*/ 63946 w 363979"/>
                <a:gd name="connsiteY108" fmla="*/ 173567 h 215419"/>
                <a:gd name="connsiteX109" fmla="*/ 62500 w 363979"/>
                <a:gd name="connsiteY109" fmla="*/ 175993 h 215419"/>
                <a:gd name="connsiteX110" fmla="*/ 61606 w 363979"/>
                <a:gd name="connsiteY110" fmla="*/ 177745 h 215419"/>
                <a:gd name="connsiteX111" fmla="*/ 60597 w 363979"/>
                <a:gd name="connsiteY111" fmla="*/ 180526 h 215419"/>
                <a:gd name="connsiteX112" fmla="*/ 60034 w 363979"/>
                <a:gd name="connsiteY112" fmla="*/ 182344 h 215419"/>
                <a:gd name="connsiteX113" fmla="*/ 59867 w 363979"/>
                <a:gd name="connsiteY113" fmla="*/ 182887 h 215419"/>
                <a:gd name="connsiteX114" fmla="*/ 18425 w 363979"/>
                <a:gd name="connsiteY114" fmla="*/ 182887 h 215419"/>
                <a:gd name="connsiteX115" fmla="*/ 8812 w 363979"/>
                <a:gd name="connsiteY115" fmla="*/ 173307 h 215419"/>
                <a:gd name="connsiteX116" fmla="*/ 8812 w 363979"/>
                <a:gd name="connsiteY116" fmla="*/ 167159 h 215419"/>
                <a:gd name="connsiteX117" fmla="*/ 18425 w 363979"/>
                <a:gd name="connsiteY117" fmla="*/ 157586 h 215419"/>
                <a:gd name="connsiteX118" fmla="*/ 22831 w 363979"/>
                <a:gd name="connsiteY118" fmla="*/ 153191 h 215419"/>
                <a:gd name="connsiteX119" fmla="*/ 22831 w 363979"/>
                <a:gd name="connsiteY119" fmla="*/ 153191 h 215419"/>
                <a:gd name="connsiteX120" fmla="*/ 22831 w 363979"/>
                <a:gd name="connsiteY120" fmla="*/ 40135 h 215419"/>
                <a:gd name="connsiteX121" fmla="*/ 38735 w 363979"/>
                <a:gd name="connsiteY121" fmla="*/ 24291 h 215419"/>
                <a:gd name="connsiteX122" fmla="*/ 280977 w 363979"/>
                <a:gd name="connsiteY122" fmla="*/ 24291 h 215419"/>
                <a:gd name="connsiteX123" fmla="*/ 294506 w 363979"/>
                <a:gd name="connsiteY123" fmla="*/ 31815 h 215419"/>
                <a:gd name="connsiteX124" fmla="*/ 338017 w 363979"/>
                <a:gd name="connsiteY124" fmla="*/ 102061 h 215419"/>
                <a:gd name="connsiteX125" fmla="*/ 341149 w 363979"/>
                <a:gd name="connsiteY125" fmla="*/ 113075 h 215419"/>
                <a:gd name="connsiteX126" fmla="*/ 341149 w 363979"/>
                <a:gd name="connsiteY126" fmla="*/ 153191 h 215419"/>
                <a:gd name="connsiteX127" fmla="*/ 345552 w 363979"/>
                <a:gd name="connsiteY127" fmla="*/ 157586 h 215419"/>
                <a:gd name="connsiteX128" fmla="*/ 345552 w 363979"/>
                <a:gd name="connsiteY128" fmla="*/ 157586 h 215419"/>
                <a:gd name="connsiteX129" fmla="*/ 355165 w 363979"/>
                <a:gd name="connsiteY129" fmla="*/ 167159 h 215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363979" h="215419">
                  <a:moveTo>
                    <a:pt x="349963" y="149331"/>
                  </a:moveTo>
                  <a:lnTo>
                    <a:pt x="349963" y="113075"/>
                  </a:lnTo>
                  <a:cubicBezTo>
                    <a:pt x="349963" y="107550"/>
                    <a:pt x="348422" y="102141"/>
                    <a:pt x="345508" y="97448"/>
                  </a:cubicBezTo>
                  <a:lnTo>
                    <a:pt x="302005" y="27202"/>
                  </a:lnTo>
                  <a:cubicBezTo>
                    <a:pt x="297529" y="19910"/>
                    <a:pt x="289551" y="15480"/>
                    <a:pt x="280977" y="15511"/>
                  </a:cubicBezTo>
                  <a:lnTo>
                    <a:pt x="242661" y="15511"/>
                  </a:lnTo>
                  <a:lnTo>
                    <a:pt x="242661" y="4391"/>
                  </a:lnTo>
                  <a:cubicBezTo>
                    <a:pt x="242661" y="1967"/>
                    <a:pt x="240692" y="1"/>
                    <a:pt x="238265" y="0"/>
                  </a:cubicBezTo>
                  <a:cubicBezTo>
                    <a:pt x="238258" y="0"/>
                    <a:pt x="238258" y="0"/>
                    <a:pt x="238258" y="0"/>
                  </a:cubicBezTo>
                  <a:lnTo>
                    <a:pt x="209890" y="0"/>
                  </a:lnTo>
                  <a:cubicBezTo>
                    <a:pt x="207456" y="-1"/>
                    <a:pt x="205487" y="1964"/>
                    <a:pt x="205487" y="4388"/>
                  </a:cubicBezTo>
                  <a:cubicBezTo>
                    <a:pt x="205487" y="4390"/>
                    <a:pt x="205487" y="4390"/>
                    <a:pt x="205487" y="4391"/>
                  </a:cubicBezTo>
                  <a:lnTo>
                    <a:pt x="205487" y="15511"/>
                  </a:lnTo>
                  <a:lnTo>
                    <a:pt x="38735" y="15511"/>
                  </a:lnTo>
                  <a:cubicBezTo>
                    <a:pt x="25092" y="15524"/>
                    <a:pt x="14034" y="26543"/>
                    <a:pt x="14018" y="40135"/>
                  </a:cubicBezTo>
                  <a:lnTo>
                    <a:pt x="14018" y="149331"/>
                  </a:lnTo>
                  <a:cubicBezTo>
                    <a:pt x="5792" y="151359"/>
                    <a:pt x="11" y="158716"/>
                    <a:pt x="0" y="167159"/>
                  </a:cubicBezTo>
                  <a:lnTo>
                    <a:pt x="0" y="173307"/>
                  </a:lnTo>
                  <a:cubicBezTo>
                    <a:pt x="11" y="183444"/>
                    <a:pt x="8254" y="191656"/>
                    <a:pt x="18425" y="191670"/>
                  </a:cubicBezTo>
                  <a:lnTo>
                    <a:pt x="59544" y="191670"/>
                  </a:lnTo>
                  <a:cubicBezTo>
                    <a:pt x="61173" y="206319"/>
                    <a:pt x="74410" y="216877"/>
                    <a:pt x="89110" y="215255"/>
                  </a:cubicBezTo>
                  <a:cubicBezTo>
                    <a:pt x="101572" y="213879"/>
                    <a:pt x="111403" y="204081"/>
                    <a:pt x="112784" y="191670"/>
                  </a:cubicBezTo>
                  <a:lnTo>
                    <a:pt x="235199" y="191670"/>
                  </a:lnTo>
                  <a:cubicBezTo>
                    <a:pt x="236827" y="206319"/>
                    <a:pt x="250066" y="216877"/>
                    <a:pt x="264765" y="215255"/>
                  </a:cubicBezTo>
                  <a:cubicBezTo>
                    <a:pt x="277220" y="213879"/>
                    <a:pt x="287058" y="204081"/>
                    <a:pt x="288439" y="191670"/>
                  </a:cubicBezTo>
                  <a:lnTo>
                    <a:pt x="345552" y="191670"/>
                  </a:lnTo>
                  <a:cubicBezTo>
                    <a:pt x="355725" y="191656"/>
                    <a:pt x="363972" y="183444"/>
                    <a:pt x="363979" y="173307"/>
                  </a:cubicBezTo>
                  <a:lnTo>
                    <a:pt x="363979" y="167159"/>
                  </a:lnTo>
                  <a:cubicBezTo>
                    <a:pt x="363972" y="158716"/>
                    <a:pt x="358188" y="151359"/>
                    <a:pt x="349963" y="149331"/>
                  </a:cubicBezTo>
                  <a:close/>
                  <a:moveTo>
                    <a:pt x="214294" y="8783"/>
                  </a:moveTo>
                  <a:lnTo>
                    <a:pt x="233855" y="8783"/>
                  </a:lnTo>
                  <a:lnTo>
                    <a:pt x="233855" y="15511"/>
                  </a:lnTo>
                  <a:lnTo>
                    <a:pt x="214294" y="15511"/>
                  </a:lnTo>
                  <a:close/>
                  <a:moveTo>
                    <a:pt x="86160" y="206638"/>
                  </a:moveTo>
                  <a:cubicBezTo>
                    <a:pt x="76162" y="206623"/>
                    <a:pt x="68052" y="198542"/>
                    <a:pt x="68045" y="188578"/>
                  </a:cubicBezTo>
                  <a:cubicBezTo>
                    <a:pt x="68045" y="188368"/>
                    <a:pt x="68060" y="188151"/>
                    <a:pt x="68074" y="187948"/>
                  </a:cubicBezTo>
                  <a:lnTo>
                    <a:pt x="68103" y="187528"/>
                  </a:lnTo>
                  <a:cubicBezTo>
                    <a:pt x="68663" y="177593"/>
                    <a:pt x="77208" y="169990"/>
                    <a:pt x="87185" y="170548"/>
                  </a:cubicBezTo>
                  <a:cubicBezTo>
                    <a:pt x="96369" y="171069"/>
                    <a:pt x="103708" y="178375"/>
                    <a:pt x="104224" y="187528"/>
                  </a:cubicBezTo>
                  <a:lnTo>
                    <a:pt x="104253" y="187948"/>
                  </a:lnTo>
                  <a:cubicBezTo>
                    <a:pt x="104268" y="188151"/>
                    <a:pt x="104282" y="188368"/>
                    <a:pt x="104282" y="188578"/>
                  </a:cubicBezTo>
                  <a:cubicBezTo>
                    <a:pt x="104275" y="198542"/>
                    <a:pt x="96166" y="206623"/>
                    <a:pt x="86160" y="206638"/>
                  </a:cubicBezTo>
                  <a:close/>
                  <a:moveTo>
                    <a:pt x="261815" y="206638"/>
                  </a:moveTo>
                  <a:cubicBezTo>
                    <a:pt x="251817" y="206623"/>
                    <a:pt x="243708" y="198542"/>
                    <a:pt x="243693" y="188578"/>
                  </a:cubicBezTo>
                  <a:cubicBezTo>
                    <a:pt x="243693" y="188361"/>
                    <a:pt x="243715" y="188151"/>
                    <a:pt x="243730" y="187934"/>
                  </a:cubicBezTo>
                  <a:lnTo>
                    <a:pt x="243751" y="187528"/>
                  </a:lnTo>
                  <a:cubicBezTo>
                    <a:pt x="244318" y="177593"/>
                    <a:pt x="252863" y="169990"/>
                    <a:pt x="262840" y="170548"/>
                  </a:cubicBezTo>
                  <a:cubicBezTo>
                    <a:pt x="272025" y="171069"/>
                    <a:pt x="279356" y="178375"/>
                    <a:pt x="279879" y="187528"/>
                  </a:cubicBezTo>
                  <a:lnTo>
                    <a:pt x="279879" y="187528"/>
                  </a:lnTo>
                  <a:lnTo>
                    <a:pt x="279901" y="187934"/>
                  </a:lnTo>
                  <a:cubicBezTo>
                    <a:pt x="279916" y="188151"/>
                    <a:pt x="279937" y="188361"/>
                    <a:pt x="279937" y="188578"/>
                  </a:cubicBezTo>
                  <a:cubicBezTo>
                    <a:pt x="279923" y="198549"/>
                    <a:pt x="271821" y="206623"/>
                    <a:pt x="261815" y="206638"/>
                  </a:cubicBezTo>
                  <a:close/>
                  <a:moveTo>
                    <a:pt x="355165" y="173307"/>
                  </a:moveTo>
                  <a:cubicBezTo>
                    <a:pt x="355165" y="178593"/>
                    <a:pt x="350864" y="182879"/>
                    <a:pt x="345552" y="182887"/>
                  </a:cubicBezTo>
                  <a:lnTo>
                    <a:pt x="288112" y="182887"/>
                  </a:lnTo>
                  <a:cubicBezTo>
                    <a:pt x="288076" y="182698"/>
                    <a:pt x="287988" y="182525"/>
                    <a:pt x="287945" y="182344"/>
                  </a:cubicBezTo>
                  <a:cubicBezTo>
                    <a:pt x="287792" y="181721"/>
                    <a:pt x="287574" y="181127"/>
                    <a:pt x="287385" y="180526"/>
                  </a:cubicBezTo>
                  <a:cubicBezTo>
                    <a:pt x="287095" y="179577"/>
                    <a:pt x="286761" y="178651"/>
                    <a:pt x="286375" y="177745"/>
                  </a:cubicBezTo>
                  <a:cubicBezTo>
                    <a:pt x="286106" y="177137"/>
                    <a:pt x="285787" y="176572"/>
                    <a:pt x="285482" y="175993"/>
                  </a:cubicBezTo>
                  <a:cubicBezTo>
                    <a:pt x="285038" y="175160"/>
                    <a:pt x="284559" y="174349"/>
                    <a:pt x="284036" y="173567"/>
                  </a:cubicBezTo>
                  <a:cubicBezTo>
                    <a:pt x="283658" y="173010"/>
                    <a:pt x="283258" y="172488"/>
                    <a:pt x="282851" y="171974"/>
                  </a:cubicBezTo>
                  <a:cubicBezTo>
                    <a:pt x="282270" y="171243"/>
                    <a:pt x="281652" y="170548"/>
                    <a:pt x="281006" y="169882"/>
                  </a:cubicBezTo>
                  <a:cubicBezTo>
                    <a:pt x="280541" y="169411"/>
                    <a:pt x="280076" y="168955"/>
                    <a:pt x="279581" y="168513"/>
                  </a:cubicBezTo>
                  <a:cubicBezTo>
                    <a:pt x="278869" y="167897"/>
                    <a:pt x="278128" y="167325"/>
                    <a:pt x="277365" y="166782"/>
                  </a:cubicBezTo>
                  <a:cubicBezTo>
                    <a:pt x="276827" y="166406"/>
                    <a:pt x="276312" y="166029"/>
                    <a:pt x="275752" y="165689"/>
                  </a:cubicBezTo>
                  <a:cubicBezTo>
                    <a:pt x="274916" y="165189"/>
                    <a:pt x="274052" y="164740"/>
                    <a:pt x="273158" y="164342"/>
                  </a:cubicBezTo>
                  <a:cubicBezTo>
                    <a:pt x="272591" y="164074"/>
                    <a:pt x="272046" y="163784"/>
                    <a:pt x="271458" y="163560"/>
                  </a:cubicBezTo>
                  <a:cubicBezTo>
                    <a:pt x="270440" y="163191"/>
                    <a:pt x="269394" y="162879"/>
                    <a:pt x="268340" y="162633"/>
                  </a:cubicBezTo>
                  <a:cubicBezTo>
                    <a:pt x="267817" y="162503"/>
                    <a:pt x="267323" y="162322"/>
                    <a:pt x="266793" y="162220"/>
                  </a:cubicBezTo>
                  <a:cubicBezTo>
                    <a:pt x="263508" y="161576"/>
                    <a:pt x="260130" y="161576"/>
                    <a:pt x="256845" y="162220"/>
                  </a:cubicBezTo>
                  <a:cubicBezTo>
                    <a:pt x="256307" y="162322"/>
                    <a:pt x="255813" y="162503"/>
                    <a:pt x="255290" y="162633"/>
                  </a:cubicBezTo>
                  <a:cubicBezTo>
                    <a:pt x="254229" y="162879"/>
                    <a:pt x="253190" y="163191"/>
                    <a:pt x="252173" y="163560"/>
                  </a:cubicBezTo>
                  <a:cubicBezTo>
                    <a:pt x="251584" y="163784"/>
                    <a:pt x="251032" y="164081"/>
                    <a:pt x="250465" y="164349"/>
                  </a:cubicBezTo>
                  <a:cubicBezTo>
                    <a:pt x="249579" y="164748"/>
                    <a:pt x="248714" y="165189"/>
                    <a:pt x="247879" y="165689"/>
                  </a:cubicBezTo>
                  <a:cubicBezTo>
                    <a:pt x="247319" y="166029"/>
                    <a:pt x="246796" y="166413"/>
                    <a:pt x="246258" y="166790"/>
                  </a:cubicBezTo>
                  <a:cubicBezTo>
                    <a:pt x="245495" y="167325"/>
                    <a:pt x="244761" y="167897"/>
                    <a:pt x="244056" y="168513"/>
                  </a:cubicBezTo>
                  <a:cubicBezTo>
                    <a:pt x="243555" y="168955"/>
                    <a:pt x="243083" y="169411"/>
                    <a:pt x="242618" y="169896"/>
                  </a:cubicBezTo>
                  <a:cubicBezTo>
                    <a:pt x="241971" y="170548"/>
                    <a:pt x="241361" y="171243"/>
                    <a:pt x="240794" y="171960"/>
                  </a:cubicBezTo>
                  <a:cubicBezTo>
                    <a:pt x="240373" y="172488"/>
                    <a:pt x="239973" y="173017"/>
                    <a:pt x="239595" y="173575"/>
                  </a:cubicBezTo>
                  <a:cubicBezTo>
                    <a:pt x="239072" y="174349"/>
                    <a:pt x="238592" y="175146"/>
                    <a:pt x="238156" y="175979"/>
                  </a:cubicBezTo>
                  <a:cubicBezTo>
                    <a:pt x="237844" y="176565"/>
                    <a:pt x="237524" y="177137"/>
                    <a:pt x="237255" y="177753"/>
                  </a:cubicBezTo>
                  <a:cubicBezTo>
                    <a:pt x="236870" y="178651"/>
                    <a:pt x="236543" y="179563"/>
                    <a:pt x="236260" y="180504"/>
                  </a:cubicBezTo>
                  <a:cubicBezTo>
                    <a:pt x="236064" y="181120"/>
                    <a:pt x="235838" y="181714"/>
                    <a:pt x="235686" y="182351"/>
                  </a:cubicBezTo>
                  <a:cubicBezTo>
                    <a:pt x="235642" y="182532"/>
                    <a:pt x="235562" y="182698"/>
                    <a:pt x="235519" y="182887"/>
                  </a:cubicBezTo>
                  <a:lnTo>
                    <a:pt x="112457" y="182887"/>
                  </a:lnTo>
                  <a:cubicBezTo>
                    <a:pt x="112420" y="182698"/>
                    <a:pt x="112333" y="182532"/>
                    <a:pt x="112290" y="182351"/>
                  </a:cubicBezTo>
                  <a:cubicBezTo>
                    <a:pt x="112144" y="181714"/>
                    <a:pt x="111919" y="181113"/>
                    <a:pt x="111723" y="180504"/>
                  </a:cubicBezTo>
                  <a:cubicBezTo>
                    <a:pt x="111439" y="179563"/>
                    <a:pt x="111105" y="178651"/>
                    <a:pt x="110727" y="177753"/>
                  </a:cubicBezTo>
                  <a:cubicBezTo>
                    <a:pt x="110451" y="177137"/>
                    <a:pt x="110132" y="176565"/>
                    <a:pt x="109819" y="175971"/>
                  </a:cubicBezTo>
                  <a:cubicBezTo>
                    <a:pt x="109383" y="175146"/>
                    <a:pt x="108904" y="174349"/>
                    <a:pt x="108388" y="173575"/>
                  </a:cubicBezTo>
                  <a:cubicBezTo>
                    <a:pt x="108010" y="173017"/>
                    <a:pt x="107603" y="172488"/>
                    <a:pt x="107189" y="171960"/>
                  </a:cubicBezTo>
                  <a:cubicBezTo>
                    <a:pt x="106615" y="171236"/>
                    <a:pt x="106004" y="170555"/>
                    <a:pt x="105365" y="169896"/>
                  </a:cubicBezTo>
                  <a:cubicBezTo>
                    <a:pt x="104893" y="169418"/>
                    <a:pt x="104420" y="168955"/>
                    <a:pt x="103919" y="168506"/>
                  </a:cubicBezTo>
                  <a:cubicBezTo>
                    <a:pt x="103214" y="167897"/>
                    <a:pt x="102487" y="167325"/>
                    <a:pt x="101724" y="166797"/>
                  </a:cubicBezTo>
                  <a:cubicBezTo>
                    <a:pt x="101187" y="166413"/>
                    <a:pt x="100664" y="166029"/>
                    <a:pt x="100097" y="165682"/>
                  </a:cubicBezTo>
                  <a:cubicBezTo>
                    <a:pt x="99261" y="165189"/>
                    <a:pt x="98404" y="164748"/>
                    <a:pt x="97517" y="164349"/>
                  </a:cubicBezTo>
                  <a:cubicBezTo>
                    <a:pt x="96951" y="164081"/>
                    <a:pt x="96398" y="163784"/>
                    <a:pt x="95802" y="163560"/>
                  </a:cubicBezTo>
                  <a:cubicBezTo>
                    <a:pt x="94785" y="163191"/>
                    <a:pt x="93746" y="162879"/>
                    <a:pt x="92692" y="162633"/>
                  </a:cubicBezTo>
                  <a:cubicBezTo>
                    <a:pt x="92169" y="162503"/>
                    <a:pt x="91675" y="162322"/>
                    <a:pt x="91137" y="162220"/>
                  </a:cubicBezTo>
                  <a:cubicBezTo>
                    <a:pt x="87853" y="161576"/>
                    <a:pt x="84474" y="161576"/>
                    <a:pt x="81190" y="162220"/>
                  </a:cubicBezTo>
                  <a:cubicBezTo>
                    <a:pt x="80659" y="162322"/>
                    <a:pt x="80158" y="162503"/>
                    <a:pt x="79635" y="162633"/>
                  </a:cubicBezTo>
                  <a:cubicBezTo>
                    <a:pt x="78581" y="162879"/>
                    <a:pt x="77535" y="163191"/>
                    <a:pt x="76518" y="163560"/>
                  </a:cubicBezTo>
                  <a:cubicBezTo>
                    <a:pt x="75929" y="163784"/>
                    <a:pt x="75384" y="164074"/>
                    <a:pt x="74817" y="164342"/>
                  </a:cubicBezTo>
                  <a:cubicBezTo>
                    <a:pt x="73931" y="164740"/>
                    <a:pt x="73066" y="165189"/>
                    <a:pt x="72223" y="165689"/>
                  </a:cubicBezTo>
                  <a:cubicBezTo>
                    <a:pt x="71664" y="166029"/>
                    <a:pt x="71148" y="166406"/>
                    <a:pt x="70610" y="166790"/>
                  </a:cubicBezTo>
                  <a:cubicBezTo>
                    <a:pt x="69847" y="167325"/>
                    <a:pt x="69106" y="167905"/>
                    <a:pt x="68401" y="168513"/>
                  </a:cubicBezTo>
                  <a:cubicBezTo>
                    <a:pt x="67903" y="168955"/>
                    <a:pt x="67437" y="169411"/>
                    <a:pt x="66974" y="169889"/>
                  </a:cubicBezTo>
                  <a:cubicBezTo>
                    <a:pt x="66324" y="170548"/>
                    <a:pt x="65708" y="171243"/>
                    <a:pt x="65131" y="171974"/>
                  </a:cubicBezTo>
                  <a:cubicBezTo>
                    <a:pt x="64717" y="172496"/>
                    <a:pt x="64320" y="173017"/>
                    <a:pt x="63946" y="173567"/>
                  </a:cubicBezTo>
                  <a:cubicBezTo>
                    <a:pt x="63421" y="174349"/>
                    <a:pt x="62938" y="175153"/>
                    <a:pt x="62500" y="175993"/>
                  </a:cubicBezTo>
                  <a:cubicBezTo>
                    <a:pt x="62187" y="176572"/>
                    <a:pt x="61875" y="177137"/>
                    <a:pt x="61606" y="177745"/>
                  </a:cubicBezTo>
                  <a:cubicBezTo>
                    <a:pt x="61219" y="178651"/>
                    <a:pt x="60881" y="179577"/>
                    <a:pt x="60597" y="180526"/>
                  </a:cubicBezTo>
                  <a:cubicBezTo>
                    <a:pt x="60405" y="181134"/>
                    <a:pt x="60183" y="181721"/>
                    <a:pt x="60034" y="182344"/>
                  </a:cubicBezTo>
                  <a:cubicBezTo>
                    <a:pt x="59990" y="182532"/>
                    <a:pt x="59906" y="182698"/>
                    <a:pt x="59867" y="182887"/>
                  </a:cubicBezTo>
                  <a:lnTo>
                    <a:pt x="18425" y="182887"/>
                  </a:lnTo>
                  <a:cubicBezTo>
                    <a:pt x="13118" y="182879"/>
                    <a:pt x="8818" y="178593"/>
                    <a:pt x="8812" y="173307"/>
                  </a:cubicBezTo>
                  <a:lnTo>
                    <a:pt x="8812" y="167159"/>
                  </a:lnTo>
                  <a:cubicBezTo>
                    <a:pt x="8818" y="161873"/>
                    <a:pt x="13119" y="157586"/>
                    <a:pt x="18425" y="157586"/>
                  </a:cubicBezTo>
                  <a:cubicBezTo>
                    <a:pt x="20859" y="157586"/>
                    <a:pt x="22831" y="155616"/>
                    <a:pt x="22831" y="153191"/>
                  </a:cubicBezTo>
                  <a:cubicBezTo>
                    <a:pt x="22831" y="153191"/>
                    <a:pt x="22831" y="153191"/>
                    <a:pt x="22831" y="153191"/>
                  </a:cubicBezTo>
                  <a:lnTo>
                    <a:pt x="22831" y="40135"/>
                  </a:lnTo>
                  <a:cubicBezTo>
                    <a:pt x="22842" y="31387"/>
                    <a:pt x="29957" y="24298"/>
                    <a:pt x="38735" y="24291"/>
                  </a:cubicBezTo>
                  <a:lnTo>
                    <a:pt x="280977" y="24291"/>
                  </a:lnTo>
                  <a:cubicBezTo>
                    <a:pt x="286499" y="24277"/>
                    <a:pt x="291622" y="27122"/>
                    <a:pt x="294506" y="31815"/>
                  </a:cubicBezTo>
                  <a:lnTo>
                    <a:pt x="338017" y="102061"/>
                  </a:lnTo>
                  <a:cubicBezTo>
                    <a:pt x="340066" y="105370"/>
                    <a:pt x="341149" y="109179"/>
                    <a:pt x="341149" y="113075"/>
                  </a:cubicBezTo>
                  <a:lnTo>
                    <a:pt x="341149" y="153191"/>
                  </a:lnTo>
                  <a:cubicBezTo>
                    <a:pt x="341149" y="155616"/>
                    <a:pt x="343118" y="157586"/>
                    <a:pt x="345552" y="157586"/>
                  </a:cubicBezTo>
                  <a:cubicBezTo>
                    <a:pt x="345552" y="157586"/>
                    <a:pt x="345552" y="157586"/>
                    <a:pt x="345552" y="157586"/>
                  </a:cubicBezTo>
                  <a:cubicBezTo>
                    <a:pt x="350864" y="157586"/>
                    <a:pt x="355158" y="161873"/>
                    <a:pt x="355165" y="167159"/>
                  </a:cubicBezTo>
                  <a:close/>
                </a:path>
              </a:pathLst>
            </a:custGeom>
            <a:grpFill/>
            <a:ln w="726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29">
              <a:extLst>
                <a:ext uri="{FF2B5EF4-FFF2-40B4-BE49-F238E27FC236}">
                  <a16:creationId xmlns:a16="http://schemas.microsoft.com/office/drawing/2014/main" id="{BAE75FD3-A1DC-6048-9540-F79F937F1557}"/>
                </a:ext>
              </a:extLst>
            </p:cNvPr>
            <p:cNvSpPr/>
            <p:nvPr/>
          </p:nvSpPr>
          <p:spPr>
            <a:xfrm>
              <a:off x="1736804" y="3420833"/>
              <a:ext cx="68404" cy="68160"/>
            </a:xfrm>
            <a:custGeom>
              <a:avLst/>
              <a:gdLst>
                <a:gd name="connsiteX0" fmla="*/ 30090 w 68404"/>
                <a:gd name="connsiteY0" fmla="*/ 2042 h 68160"/>
                <a:gd name="connsiteX1" fmla="*/ 26362 w 68404"/>
                <a:gd name="connsiteY1" fmla="*/ 0 h 68160"/>
                <a:gd name="connsiteX2" fmla="*/ 4411 w 68404"/>
                <a:gd name="connsiteY2" fmla="*/ 0 h 68160"/>
                <a:gd name="connsiteX3" fmla="*/ 0 w 68404"/>
                <a:gd name="connsiteY3" fmla="*/ 4388 h 68160"/>
                <a:gd name="connsiteX4" fmla="*/ 0 w 68404"/>
                <a:gd name="connsiteY4" fmla="*/ 4388 h 68160"/>
                <a:gd name="connsiteX5" fmla="*/ 0 w 68404"/>
                <a:gd name="connsiteY5" fmla="*/ 63773 h 68160"/>
                <a:gd name="connsiteX6" fmla="*/ 4411 w 68404"/>
                <a:gd name="connsiteY6" fmla="*/ 68161 h 68160"/>
                <a:gd name="connsiteX7" fmla="*/ 64001 w 68404"/>
                <a:gd name="connsiteY7" fmla="*/ 68161 h 68160"/>
                <a:gd name="connsiteX8" fmla="*/ 68405 w 68404"/>
                <a:gd name="connsiteY8" fmla="*/ 63780 h 68160"/>
                <a:gd name="connsiteX9" fmla="*/ 67722 w 68404"/>
                <a:gd name="connsiteY9" fmla="*/ 61427 h 68160"/>
                <a:gd name="connsiteX10" fmla="*/ 8814 w 68404"/>
                <a:gd name="connsiteY10" fmla="*/ 59377 h 68160"/>
                <a:gd name="connsiteX11" fmla="*/ 8814 w 68404"/>
                <a:gd name="connsiteY11" fmla="*/ 8783 h 68160"/>
                <a:gd name="connsiteX12" fmla="*/ 23935 w 68404"/>
                <a:gd name="connsiteY12" fmla="*/ 8783 h 68160"/>
                <a:gd name="connsiteX13" fmla="*/ 56009 w 68404"/>
                <a:gd name="connsiteY13" fmla="*/ 59377 h 68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8404" h="68160">
                  <a:moveTo>
                    <a:pt x="30090" y="2042"/>
                  </a:moveTo>
                  <a:cubicBezTo>
                    <a:pt x="29283" y="775"/>
                    <a:pt x="27873" y="0"/>
                    <a:pt x="26362" y="0"/>
                  </a:cubicBezTo>
                  <a:lnTo>
                    <a:pt x="4411" y="0"/>
                  </a:lnTo>
                  <a:cubicBezTo>
                    <a:pt x="1976" y="0"/>
                    <a:pt x="7" y="1962"/>
                    <a:pt x="0" y="4388"/>
                  </a:cubicBezTo>
                  <a:cubicBezTo>
                    <a:pt x="0" y="4388"/>
                    <a:pt x="0" y="4388"/>
                    <a:pt x="0" y="4388"/>
                  </a:cubicBezTo>
                  <a:lnTo>
                    <a:pt x="0" y="63773"/>
                  </a:lnTo>
                  <a:cubicBezTo>
                    <a:pt x="0" y="66199"/>
                    <a:pt x="1976" y="68161"/>
                    <a:pt x="4411" y="68161"/>
                  </a:cubicBezTo>
                  <a:lnTo>
                    <a:pt x="64001" y="68161"/>
                  </a:lnTo>
                  <a:cubicBezTo>
                    <a:pt x="66436" y="68168"/>
                    <a:pt x="68405" y="66199"/>
                    <a:pt x="68405" y="63780"/>
                  </a:cubicBezTo>
                  <a:cubicBezTo>
                    <a:pt x="68405" y="62947"/>
                    <a:pt x="68172" y="62129"/>
                    <a:pt x="67722" y="61427"/>
                  </a:cubicBezTo>
                  <a:close/>
                  <a:moveTo>
                    <a:pt x="8814" y="59377"/>
                  </a:moveTo>
                  <a:lnTo>
                    <a:pt x="8814" y="8783"/>
                  </a:lnTo>
                  <a:lnTo>
                    <a:pt x="23935" y="8783"/>
                  </a:lnTo>
                  <a:lnTo>
                    <a:pt x="56009" y="59377"/>
                  </a:lnTo>
                  <a:close/>
                </a:path>
              </a:pathLst>
            </a:custGeom>
            <a:grpFill/>
            <a:ln w="726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9" name="Group 1182">
            <a:extLst>
              <a:ext uri="{FF2B5EF4-FFF2-40B4-BE49-F238E27FC236}">
                <a16:creationId xmlns:a16="http://schemas.microsoft.com/office/drawing/2014/main" id="{5FDFEB1D-25BC-4D4B-B2BA-EB4472942B60}"/>
              </a:ext>
            </a:extLst>
          </p:cNvPr>
          <p:cNvGrpSpPr>
            <a:grpSpLocks noChangeAspect="1"/>
          </p:cNvGrpSpPr>
          <p:nvPr/>
        </p:nvGrpSpPr>
        <p:grpSpPr>
          <a:xfrm>
            <a:off x="403097" y="3530608"/>
            <a:ext cx="729920" cy="432000"/>
            <a:chOff x="1486666" y="3380815"/>
            <a:chExt cx="363979" cy="215419"/>
          </a:xfrm>
          <a:solidFill>
            <a:schemeClr val="bg1"/>
          </a:solidFill>
        </p:grpSpPr>
        <p:sp>
          <p:nvSpPr>
            <p:cNvPr id="20" name="Freeform 27">
              <a:extLst>
                <a:ext uri="{FF2B5EF4-FFF2-40B4-BE49-F238E27FC236}">
                  <a16:creationId xmlns:a16="http://schemas.microsoft.com/office/drawing/2014/main" id="{380CAC1D-CE3A-9E4D-A9BE-F519F6E183E8}"/>
                </a:ext>
              </a:extLst>
            </p:cNvPr>
            <p:cNvSpPr/>
            <p:nvPr/>
          </p:nvSpPr>
          <p:spPr>
            <a:xfrm>
              <a:off x="1582737" y="3427821"/>
              <a:ext cx="82915" cy="82635"/>
            </a:xfrm>
            <a:custGeom>
              <a:avLst/>
              <a:gdLst>
                <a:gd name="connsiteX0" fmla="*/ 78512 w 82915"/>
                <a:gd name="connsiteY0" fmla="*/ 26025 h 82635"/>
                <a:gd name="connsiteX1" fmla="*/ 56808 w 82915"/>
                <a:gd name="connsiteY1" fmla="*/ 26025 h 82635"/>
                <a:gd name="connsiteX2" fmla="*/ 56808 w 82915"/>
                <a:gd name="connsiteY2" fmla="*/ 4395 h 82635"/>
                <a:gd name="connsiteX3" fmla="*/ 52397 w 82915"/>
                <a:gd name="connsiteY3" fmla="*/ 0 h 82635"/>
                <a:gd name="connsiteX4" fmla="*/ 30518 w 82915"/>
                <a:gd name="connsiteY4" fmla="*/ 0 h 82635"/>
                <a:gd name="connsiteX5" fmla="*/ 26115 w 82915"/>
                <a:gd name="connsiteY5" fmla="*/ 4395 h 82635"/>
                <a:gd name="connsiteX6" fmla="*/ 26115 w 82915"/>
                <a:gd name="connsiteY6" fmla="*/ 26025 h 82635"/>
                <a:gd name="connsiteX7" fmla="*/ 4403 w 82915"/>
                <a:gd name="connsiteY7" fmla="*/ 26025 h 82635"/>
                <a:gd name="connsiteX8" fmla="*/ 0 w 82915"/>
                <a:gd name="connsiteY8" fmla="*/ 30413 h 82635"/>
                <a:gd name="connsiteX9" fmla="*/ 0 w 82915"/>
                <a:gd name="connsiteY9" fmla="*/ 52223 h 82635"/>
                <a:gd name="connsiteX10" fmla="*/ 4403 w 82915"/>
                <a:gd name="connsiteY10" fmla="*/ 56611 h 82635"/>
                <a:gd name="connsiteX11" fmla="*/ 26115 w 82915"/>
                <a:gd name="connsiteY11" fmla="*/ 56611 h 82635"/>
                <a:gd name="connsiteX12" fmla="*/ 26115 w 82915"/>
                <a:gd name="connsiteY12" fmla="*/ 78241 h 82635"/>
                <a:gd name="connsiteX13" fmla="*/ 30518 w 82915"/>
                <a:gd name="connsiteY13" fmla="*/ 82636 h 82635"/>
                <a:gd name="connsiteX14" fmla="*/ 52397 w 82915"/>
                <a:gd name="connsiteY14" fmla="*/ 82636 h 82635"/>
                <a:gd name="connsiteX15" fmla="*/ 56808 w 82915"/>
                <a:gd name="connsiteY15" fmla="*/ 78241 h 82635"/>
                <a:gd name="connsiteX16" fmla="*/ 56808 w 82915"/>
                <a:gd name="connsiteY16" fmla="*/ 56611 h 82635"/>
                <a:gd name="connsiteX17" fmla="*/ 78512 w 82915"/>
                <a:gd name="connsiteY17" fmla="*/ 56611 h 82635"/>
                <a:gd name="connsiteX18" fmla="*/ 82916 w 82915"/>
                <a:gd name="connsiteY18" fmla="*/ 52223 h 82635"/>
                <a:gd name="connsiteX19" fmla="*/ 82916 w 82915"/>
                <a:gd name="connsiteY19" fmla="*/ 30413 h 82635"/>
                <a:gd name="connsiteX20" fmla="*/ 78512 w 82915"/>
                <a:gd name="connsiteY20" fmla="*/ 26025 h 82635"/>
                <a:gd name="connsiteX21" fmla="*/ 74109 w 82915"/>
                <a:gd name="connsiteY21" fmla="*/ 47828 h 82635"/>
                <a:gd name="connsiteX22" fmla="*/ 52397 w 82915"/>
                <a:gd name="connsiteY22" fmla="*/ 47828 h 82635"/>
                <a:gd name="connsiteX23" fmla="*/ 47994 w 82915"/>
                <a:gd name="connsiteY23" fmla="*/ 52216 h 82635"/>
                <a:gd name="connsiteX24" fmla="*/ 47994 w 82915"/>
                <a:gd name="connsiteY24" fmla="*/ 52216 h 82635"/>
                <a:gd name="connsiteX25" fmla="*/ 47994 w 82915"/>
                <a:gd name="connsiteY25" fmla="*/ 73852 h 82635"/>
                <a:gd name="connsiteX26" fmla="*/ 34922 w 82915"/>
                <a:gd name="connsiteY26" fmla="*/ 73852 h 82635"/>
                <a:gd name="connsiteX27" fmla="*/ 34922 w 82915"/>
                <a:gd name="connsiteY27" fmla="*/ 52223 h 82635"/>
                <a:gd name="connsiteX28" fmla="*/ 30518 w 82915"/>
                <a:gd name="connsiteY28" fmla="*/ 47828 h 82635"/>
                <a:gd name="connsiteX29" fmla="*/ 30518 w 82915"/>
                <a:gd name="connsiteY29" fmla="*/ 47828 h 82635"/>
                <a:gd name="connsiteX30" fmla="*/ 8807 w 82915"/>
                <a:gd name="connsiteY30" fmla="*/ 47828 h 82635"/>
                <a:gd name="connsiteX31" fmla="*/ 8807 w 82915"/>
                <a:gd name="connsiteY31" fmla="*/ 34801 h 82635"/>
                <a:gd name="connsiteX32" fmla="*/ 30518 w 82915"/>
                <a:gd name="connsiteY32" fmla="*/ 34801 h 82635"/>
                <a:gd name="connsiteX33" fmla="*/ 34922 w 82915"/>
                <a:gd name="connsiteY33" fmla="*/ 30420 h 82635"/>
                <a:gd name="connsiteX34" fmla="*/ 34922 w 82915"/>
                <a:gd name="connsiteY34" fmla="*/ 30413 h 82635"/>
                <a:gd name="connsiteX35" fmla="*/ 34922 w 82915"/>
                <a:gd name="connsiteY35" fmla="*/ 8783 h 82635"/>
                <a:gd name="connsiteX36" fmla="*/ 47994 w 82915"/>
                <a:gd name="connsiteY36" fmla="*/ 8783 h 82635"/>
                <a:gd name="connsiteX37" fmla="*/ 47994 w 82915"/>
                <a:gd name="connsiteY37" fmla="*/ 30413 h 82635"/>
                <a:gd name="connsiteX38" fmla="*/ 52397 w 82915"/>
                <a:gd name="connsiteY38" fmla="*/ 34801 h 82635"/>
                <a:gd name="connsiteX39" fmla="*/ 52397 w 82915"/>
                <a:gd name="connsiteY39" fmla="*/ 34801 h 82635"/>
                <a:gd name="connsiteX40" fmla="*/ 74109 w 82915"/>
                <a:gd name="connsiteY40" fmla="*/ 34801 h 82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82915" h="82635">
                  <a:moveTo>
                    <a:pt x="78512" y="26025"/>
                  </a:moveTo>
                  <a:lnTo>
                    <a:pt x="56808" y="26025"/>
                  </a:lnTo>
                  <a:lnTo>
                    <a:pt x="56808" y="4395"/>
                  </a:lnTo>
                  <a:cubicBezTo>
                    <a:pt x="56808" y="1970"/>
                    <a:pt x="54831" y="0"/>
                    <a:pt x="52397" y="0"/>
                  </a:cubicBezTo>
                  <a:lnTo>
                    <a:pt x="30518" y="0"/>
                  </a:lnTo>
                  <a:cubicBezTo>
                    <a:pt x="28084" y="0"/>
                    <a:pt x="26115" y="1970"/>
                    <a:pt x="26115" y="4395"/>
                  </a:cubicBezTo>
                  <a:lnTo>
                    <a:pt x="26115" y="26025"/>
                  </a:lnTo>
                  <a:lnTo>
                    <a:pt x="4403" y="26025"/>
                  </a:lnTo>
                  <a:cubicBezTo>
                    <a:pt x="1969" y="26025"/>
                    <a:pt x="0" y="27987"/>
                    <a:pt x="0" y="30413"/>
                  </a:cubicBezTo>
                  <a:lnTo>
                    <a:pt x="0" y="52223"/>
                  </a:lnTo>
                  <a:cubicBezTo>
                    <a:pt x="0" y="54642"/>
                    <a:pt x="1969" y="56611"/>
                    <a:pt x="4403" y="56611"/>
                  </a:cubicBezTo>
                  <a:lnTo>
                    <a:pt x="26115" y="56611"/>
                  </a:lnTo>
                  <a:lnTo>
                    <a:pt x="26115" y="78241"/>
                  </a:lnTo>
                  <a:cubicBezTo>
                    <a:pt x="26115" y="80666"/>
                    <a:pt x="28084" y="82629"/>
                    <a:pt x="30518" y="82636"/>
                  </a:cubicBezTo>
                  <a:lnTo>
                    <a:pt x="52397" y="82636"/>
                  </a:lnTo>
                  <a:cubicBezTo>
                    <a:pt x="54831" y="82629"/>
                    <a:pt x="56808" y="80666"/>
                    <a:pt x="56808" y="78241"/>
                  </a:cubicBezTo>
                  <a:lnTo>
                    <a:pt x="56808" y="56611"/>
                  </a:lnTo>
                  <a:lnTo>
                    <a:pt x="78512" y="56611"/>
                  </a:lnTo>
                  <a:cubicBezTo>
                    <a:pt x="80946" y="56611"/>
                    <a:pt x="82916" y="54642"/>
                    <a:pt x="82916" y="52223"/>
                  </a:cubicBezTo>
                  <a:lnTo>
                    <a:pt x="82916" y="30413"/>
                  </a:lnTo>
                  <a:cubicBezTo>
                    <a:pt x="82916" y="27987"/>
                    <a:pt x="80946" y="26025"/>
                    <a:pt x="78512" y="26025"/>
                  </a:cubicBezTo>
                  <a:close/>
                  <a:moveTo>
                    <a:pt x="74109" y="47828"/>
                  </a:moveTo>
                  <a:lnTo>
                    <a:pt x="52397" y="47828"/>
                  </a:lnTo>
                  <a:cubicBezTo>
                    <a:pt x="49963" y="47828"/>
                    <a:pt x="47994" y="49797"/>
                    <a:pt x="47994" y="52216"/>
                  </a:cubicBezTo>
                  <a:cubicBezTo>
                    <a:pt x="47994" y="52216"/>
                    <a:pt x="47994" y="52216"/>
                    <a:pt x="47994" y="52216"/>
                  </a:cubicBezTo>
                  <a:lnTo>
                    <a:pt x="47994" y="73852"/>
                  </a:lnTo>
                  <a:lnTo>
                    <a:pt x="34922" y="73852"/>
                  </a:lnTo>
                  <a:lnTo>
                    <a:pt x="34922" y="52223"/>
                  </a:lnTo>
                  <a:cubicBezTo>
                    <a:pt x="34922" y="49797"/>
                    <a:pt x="32953" y="47828"/>
                    <a:pt x="30518" y="47828"/>
                  </a:cubicBezTo>
                  <a:cubicBezTo>
                    <a:pt x="30518" y="47828"/>
                    <a:pt x="30518" y="47828"/>
                    <a:pt x="30518" y="47828"/>
                  </a:cubicBezTo>
                  <a:lnTo>
                    <a:pt x="8807" y="47828"/>
                  </a:lnTo>
                  <a:lnTo>
                    <a:pt x="8807" y="34801"/>
                  </a:lnTo>
                  <a:lnTo>
                    <a:pt x="30518" y="34801"/>
                  </a:lnTo>
                  <a:cubicBezTo>
                    <a:pt x="32945" y="34801"/>
                    <a:pt x="34922" y="32839"/>
                    <a:pt x="34922" y="30420"/>
                  </a:cubicBezTo>
                  <a:cubicBezTo>
                    <a:pt x="34922" y="30420"/>
                    <a:pt x="34922" y="30413"/>
                    <a:pt x="34922" y="30413"/>
                  </a:cubicBezTo>
                  <a:lnTo>
                    <a:pt x="34922" y="8783"/>
                  </a:lnTo>
                  <a:lnTo>
                    <a:pt x="47994" y="8783"/>
                  </a:lnTo>
                  <a:lnTo>
                    <a:pt x="47994" y="30413"/>
                  </a:lnTo>
                  <a:cubicBezTo>
                    <a:pt x="47994" y="32839"/>
                    <a:pt x="49963" y="34801"/>
                    <a:pt x="52397" y="34801"/>
                  </a:cubicBezTo>
                  <a:cubicBezTo>
                    <a:pt x="52397" y="34801"/>
                    <a:pt x="52397" y="34801"/>
                    <a:pt x="52397" y="34801"/>
                  </a:cubicBezTo>
                  <a:lnTo>
                    <a:pt x="74109" y="34801"/>
                  </a:lnTo>
                  <a:close/>
                </a:path>
              </a:pathLst>
            </a:custGeom>
            <a:grpFill/>
            <a:ln w="726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8">
              <a:extLst>
                <a:ext uri="{FF2B5EF4-FFF2-40B4-BE49-F238E27FC236}">
                  <a16:creationId xmlns:a16="http://schemas.microsoft.com/office/drawing/2014/main" id="{27781A96-1E3D-DB4F-8E70-9FE3D6FBBEAE}"/>
                </a:ext>
              </a:extLst>
            </p:cNvPr>
            <p:cNvSpPr/>
            <p:nvPr/>
          </p:nvSpPr>
          <p:spPr>
            <a:xfrm>
              <a:off x="1486666" y="3380815"/>
              <a:ext cx="363979" cy="215419"/>
            </a:xfrm>
            <a:custGeom>
              <a:avLst/>
              <a:gdLst>
                <a:gd name="connsiteX0" fmla="*/ 349963 w 363979"/>
                <a:gd name="connsiteY0" fmla="*/ 149331 h 215419"/>
                <a:gd name="connsiteX1" fmla="*/ 349963 w 363979"/>
                <a:gd name="connsiteY1" fmla="*/ 113075 h 215419"/>
                <a:gd name="connsiteX2" fmla="*/ 345508 w 363979"/>
                <a:gd name="connsiteY2" fmla="*/ 97448 h 215419"/>
                <a:gd name="connsiteX3" fmla="*/ 302005 w 363979"/>
                <a:gd name="connsiteY3" fmla="*/ 27202 h 215419"/>
                <a:gd name="connsiteX4" fmla="*/ 280977 w 363979"/>
                <a:gd name="connsiteY4" fmla="*/ 15511 h 215419"/>
                <a:gd name="connsiteX5" fmla="*/ 242661 w 363979"/>
                <a:gd name="connsiteY5" fmla="*/ 15511 h 215419"/>
                <a:gd name="connsiteX6" fmla="*/ 242661 w 363979"/>
                <a:gd name="connsiteY6" fmla="*/ 4391 h 215419"/>
                <a:gd name="connsiteX7" fmla="*/ 238265 w 363979"/>
                <a:gd name="connsiteY7" fmla="*/ 0 h 215419"/>
                <a:gd name="connsiteX8" fmla="*/ 238258 w 363979"/>
                <a:gd name="connsiteY8" fmla="*/ 0 h 215419"/>
                <a:gd name="connsiteX9" fmla="*/ 209890 w 363979"/>
                <a:gd name="connsiteY9" fmla="*/ 0 h 215419"/>
                <a:gd name="connsiteX10" fmla="*/ 205487 w 363979"/>
                <a:gd name="connsiteY10" fmla="*/ 4388 h 215419"/>
                <a:gd name="connsiteX11" fmla="*/ 205487 w 363979"/>
                <a:gd name="connsiteY11" fmla="*/ 4391 h 215419"/>
                <a:gd name="connsiteX12" fmla="*/ 205487 w 363979"/>
                <a:gd name="connsiteY12" fmla="*/ 15511 h 215419"/>
                <a:gd name="connsiteX13" fmla="*/ 38735 w 363979"/>
                <a:gd name="connsiteY13" fmla="*/ 15511 h 215419"/>
                <a:gd name="connsiteX14" fmla="*/ 14018 w 363979"/>
                <a:gd name="connsiteY14" fmla="*/ 40135 h 215419"/>
                <a:gd name="connsiteX15" fmla="*/ 14018 w 363979"/>
                <a:gd name="connsiteY15" fmla="*/ 149331 h 215419"/>
                <a:gd name="connsiteX16" fmla="*/ 0 w 363979"/>
                <a:gd name="connsiteY16" fmla="*/ 167159 h 215419"/>
                <a:gd name="connsiteX17" fmla="*/ 0 w 363979"/>
                <a:gd name="connsiteY17" fmla="*/ 173307 h 215419"/>
                <a:gd name="connsiteX18" fmla="*/ 18425 w 363979"/>
                <a:gd name="connsiteY18" fmla="*/ 191670 h 215419"/>
                <a:gd name="connsiteX19" fmla="*/ 59544 w 363979"/>
                <a:gd name="connsiteY19" fmla="*/ 191670 h 215419"/>
                <a:gd name="connsiteX20" fmla="*/ 89110 w 363979"/>
                <a:gd name="connsiteY20" fmla="*/ 215255 h 215419"/>
                <a:gd name="connsiteX21" fmla="*/ 112784 w 363979"/>
                <a:gd name="connsiteY21" fmla="*/ 191670 h 215419"/>
                <a:gd name="connsiteX22" fmla="*/ 235199 w 363979"/>
                <a:gd name="connsiteY22" fmla="*/ 191670 h 215419"/>
                <a:gd name="connsiteX23" fmla="*/ 264765 w 363979"/>
                <a:gd name="connsiteY23" fmla="*/ 215255 h 215419"/>
                <a:gd name="connsiteX24" fmla="*/ 288439 w 363979"/>
                <a:gd name="connsiteY24" fmla="*/ 191670 h 215419"/>
                <a:gd name="connsiteX25" fmla="*/ 345552 w 363979"/>
                <a:gd name="connsiteY25" fmla="*/ 191670 h 215419"/>
                <a:gd name="connsiteX26" fmla="*/ 363979 w 363979"/>
                <a:gd name="connsiteY26" fmla="*/ 173307 h 215419"/>
                <a:gd name="connsiteX27" fmla="*/ 363979 w 363979"/>
                <a:gd name="connsiteY27" fmla="*/ 167159 h 215419"/>
                <a:gd name="connsiteX28" fmla="*/ 349963 w 363979"/>
                <a:gd name="connsiteY28" fmla="*/ 149331 h 215419"/>
                <a:gd name="connsiteX29" fmla="*/ 214294 w 363979"/>
                <a:gd name="connsiteY29" fmla="*/ 8783 h 215419"/>
                <a:gd name="connsiteX30" fmla="*/ 233855 w 363979"/>
                <a:gd name="connsiteY30" fmla="*/ 8783 h 215419"/>
                <a:gd name="connsiteX31" fmla="*/ 233855 w 363979"/>
                <a:gd name="connsiteY31" fmla="*/ 15511 h 215419"/>
                <a:gd name="connsiteX32" fmla="*/ 214294 w 363979"/>
                <a:gd name="connsiteY32" fmla="*/ 15511 h 215419"/>
                <a:gd name="connsiteX33" fmla="*/ 86160 w 363979"/>
                <a:gd name="connsiteY33" fmla="*/ 206638 h 215419"/>
                <a:gd name="connsiteX34" fmla="*/ 68045 w 363979"/>
                <a:gd name="connsiteY34" fmla="*/ 188578 h 215419"/>
                <a:gd name="connsiteX35" fmla="*/ 68074 w 363979"/>
                <a:gd name="connsiteY35" fmla="*/ 187948 h 215419"/>
                <a:gd name="connsiteX36" fmla="*/ 68103 w 363979"/>
                <a:gd name="connsiteY36" fmla="*/ 187528 h 215419"/>
                <a:gd name="connsiteX37" fmla="*/ 87185 w 363979"/>
                <a:gd name="connsiteY37" fmla="*/ 170548 h 215419"/>
                <a:gd name="connsiteX38" fmla="*/ 104224 w 363979"/>
                <a:gd name="connsiteY38" fmla="*/ 187528 h 215419"/>
                <a:gd name="connsiteX39" fmla="*/ 104253 w 363979"/>
                <a:gd name="connsiteY39" fmla="*/ 187948 h 215419"/>
                <a:gd name="connsiteX40" fmla="*/ 104282 w 363979"/>
                <a:gd name="connsiteY40" fmla="*/ 188578 h 215419"/>
                <a:gd name="connsiteX41" fmla="*/ 86160 w 363979"/>
                <a:gd name="connsiteY41" fmla="*/ 206638 h 215419"/>
                <a:gd name="connsiteX42" fmla="*/ 261815 w 363979"/>
                <a:gd name="connsiteY42" fmla="*/ 206638 h 215419"/>
                <a:gd name="connsiteX43" fmla="*/ 243693 w 363979"/>
                <a:gd name="connsiteY43" fmla="*/ 188578 h 215419"/>
                <a:gd name="connsiteX44" fmla="*/ 243730 w 363979"/>
                <a:gd name="connsiteY44" fmla="*/ 187934 h 215419"/>
                <a:gd name="connsiteX45" fmla="*/ 243751 w 363979"/>
                <a:gd name="connsiteY45" fmla="*/ 187528 h 215419"/>
                <a:gd name="connsiteX46" fmla="*/ 262840 w 363979"/>
                <a:gd name="connsiteY46" fmla="*/ 170548 h 215419"/>
                <a:gd name="connsiteX47" fmla="*/ 279879 w 363979"/>
                <a:gd name="connsiteY47" fmla="*/ 187528 h 215419"/>
                <a:gd name="connsiteX48" fmla="*/ 279879 w 363979"/>
                <a:gd name="connsiteY48" fmla="*/ 187528 h 215419"/>
                <a:gd name="connsiteX49" fmla="*/ 279901 w 363979"/>
                <a:gd name="connsiteY49" fmla="*/ 187934 h 215419"/>
                <a:gd name="connsiteX50" fmla="*/ 279937 w 363979"/>
                <a:gd name="connsiteY50" fmla="*/ 188578 h 215419"/>
                <a:gd name="connsiteX51" fmla="*/ 261815 w 363979"/>
                <a:gd name="connsiteY51" fmla="*/ 206638 h 215419"/>
                <a:gd name="connsiteX52" fmla="*/ 355165 w 363979"/>
                <a:gd name="connsiteY52" fmla="*/ 173307 h 215419"/>
                <a:gd name="connsiteX53" fmla="*/ 345552 w 363979"/>
                <a:gd name="connsiteY53" fmla="*/ 182887 h 215419"/>
                <a:gd name="connsiteX54" fmla="*/ 288112 w 363979"/>
                <a:gd name="connsiteY54" fmla="*/ 182887 h 215419"/>
                <a:gd name="connsiteX55" fmla="*/ 287945 w 363979"/>
                <a:gd name="connsiteY55" fmla="*/ 182344 h 215419"/>
                <a:gd name="connsiteX56" fmla="*/ 287385 w 363979"/>
                <a:gd name="connsiteY56" fmla="*/ 180526 h 215419"/>
                <a:gd name="connsiteX57" fmla="*/ 286375 w 363979"/>
                <a:gd name="connsiteY57" fmla="*/ 177745 h 215419"/>
                <a:gd name="connsiteX58" fmla="*/ 285482 w 363979"/>
                <a:gd name="connsiteY58" fmla="*/ 175993 h 215419"/>
                <a:gd name="connsiteX59" fmla="*/ 284036 w 363979"/>
                <a:gd name="connsiteY59" fmla="*/ 173567 h 215419"/>
                <a:gd name="connsiteX60" fmla="*/ 282851 w 363979"/>
                <a:gd name="connsiteY60" fmla="*/ 171974 h 215419"/>
                <a:gd name="connsiteX61" fmla="*/ 281006 w 363979"/>
                <a:gd name="connsiteY61" fmla="*/ 169882 h 215419"/>
                <a:gd name="connsiteX62" fmla="*/ 279581 w 363979"/>
                <a:gd name="connsiteY62" fmla="*/ 168513 h 215419"/>
                <a:gd name="connsiteX63" fmla="*/ 277365 w 363979"/>
                <a:gd name="connsiteY63" fmla="*/ 166782 h 215419"/>
                <a:gd name="connsiteX64" fmla="*/ 275752 w 363979"/>
                <a:gd name="connsiteY64" fmla="*/ 165689 h 215419"/>
                <a:gd name="connsiteX65" fmla="*/ 273158 w 363979"/>
                <a:gd name="connsiteY65" fmla="*/ 164342 h 215419"/>
                <a:gd name="connsiteX66" fmla="*/ 271458 w 363979"/>
                <a:gd name="connsiteY66" fmla="*/ 163560 h 215419"/>
                <a:gd name="connsiteX67" fmla="*/ 268340 w 363979"/>
                <a:gd name="connsiteY67" fmla="*/ 162633 h 215419"/>
                <a:gd name="connsiteX68" fmla="*/ 266793 w 363979"/>
                <a:gd name="connsiteY68" fmla="*/ 162220 h 215419"/>
                <a:gd name="connsiteX69" fmla="*/ 256845 w 363979"/>
                <a:gd name="connsiteY69" fmla="*/ 162220 h 215419"/>
                <a:gd name="connsiteX70" fmla="*/ 255290 w 363979"/>
                <a:gd name="connsiteY70" fmla="*/ 162633 h 215419"/>
                <a:gd name="connsiteX71" fmla="*/ 252173 w 363979"/>
                <a:gd name="connsiteY71" fmla="*/ 163560 h 215419"/>
                <a:gd name="connsiteX72" fmla="*/ 250465 w 363979"/>
                <a:gd name="connsiteY72" fmla="*/ 164349 h 215419"/>
                <a:gd name="connsiteX73" fmla="*/ 247879 w 363979"/>
                <a:gd name="connsiteY73" fmla="*/ 165689 h 215419"/>
                <a:gd name="connsiteX74" fmla="*/ 246258 w 363979"/>
                <a:gd name="connsiteY74" fmla="*/ 166790 h 215419"/>
                <a:gd name="connsiteX75" fmla="*/ 244056 w 363979"/>
                <a:gd name="connsiteY75" fmla="*/ 168513 h 215419"/>
                <a:gd name="connsiteX76" fmla="*/ 242618 w 363979"/>
                <a:gd name="connsiteY76" fmla="*/ 169896 h 215419"/>
                <a:gd name="connsiteX77" fmla="*/ 240794 w 363979"/>
                <a:gd name="connsiteY77" fmla="*/ 171960 h 215419"/>
                <a:gd name="connsiteX78" fmla="*/ 239595 w 363979"/>
                <a:gd name="connsiteY78" fmla="*/ 173575 h 215419"/>
                <a:gd name="connsiteX79" fmla="*/ 238156 w 363979"/>
                <a:gd name="connsiteY79" fmla="*/ 175979 h 215419"/>
                <a:gd name="connsiteX80" fmla="*/ 237255 w 363979"/>
                <a:gd name="connsiteY80" fmla="*/ 177753 h 215419"/>
                <a:gd name="connsiteX81" fmla="*/ 236260 w 363979"/>
                <a:gd name="connsiteY81" fmla="*/ 180504 h 215419"/>
                <a:gd name="connsiteX82" fmla="*/ 235686 w 363979"/>
                <a:gd name="connsiteY82" fmla="*/ 182351 h 215419"/>
                <a:gd name="connsiteX83" fmla="*/ 235519 w 363979"/>
                <a:gd name="connsiteY83" fmla="*/ 182887 h 215419"/>
                <a:gd name="connsiteX84" fmla="*/ 112457 w 363979"/>
                <a:gd name="connsiteY84" fmla="*/ 182887 h 215419"/>
                <a:gd name="connsiteX85" fmla="*/ 112290 w 363979"/>
                <a:gd name="connsiteY85" fmla="*/ 182351 h 215419"/>
                <a:gd name="connsiteX86" fmla="*/ 111723 w 363979"/>
                <a:gd name="connsiteY86" fmla="*/ 180504 h 215419"/>
                <a:gd name="connsiteX87" fmla="*/ 110727 w 363979"/>
                <a:gd name="connsiteY87" fmla="*/ 177753 h 215419"/>
                <a:gd name="connsiteX88" fmla="*/ 109819 w 363979"/>
                <a:gd name="connsiteY88" fmla="*/ 175971 h 215419"/>
                <a:gd name="connsiteX89" fmla="*/ 108388 w 363979"/>
                <a:gd name="connsiteY89" fmla="*/ 173575 h 215419"/>
                <a:gd name="connsiteX90" fmla="*/ 107189 w 363979"/>
                <a:gd name="connsiteY90" fmla="*/ 171960 h 215419"/>
                <a:gd name="connsiteX91" fmla="*/ 105365 w 363979"/>
                <a:gd name="connsiteY91" fmla="*/ 169896 h 215419"/>
                <a:gd name="connsiteX92" fmla="*/ 103919 w 363979"/>
                <a:gd name="connsiteY92" fmla="*/ 168506 h 215419"/>
                <a:gd name="connsiteX93" fmla="*/ 101724 w 363979"/>
                <a:gd name="connsiteY93" fmla="*/ 166797 h 215419"/>
                <a:gd name="connsiteX94" fmla="*/ 100097 w 363979"/>
                <a:gd name="connsiteY94" fmla="*/ 165682 h 215419"/>
                <a:gd name="connsiteX95" fmla="*/ 97517 w 363979"/>
                <a:gd name="connsiteY95" fmla="*/ 164349 h 215419"/>
                <a:gd name="connsiteX96" fmla="*/ 95802 w 363979"/>
                <a:gd name="connsiteY96" fmla="*/ 163560 h 215419"/>
                <a:gd name="connsiteX97" fmla="*/ 92692 w 363979"/>
                <a:gd name="connsiteY97" fmla="*/ 162633 h 215419"/>
                <a:gd name="connsiteX98" fmla="*/ 91137 w 363979"/>
                <a:gd name="connsiteY98" fmla="*/ 162220 h 215419"/>
                <a:gd name="connsiteX99" fmla="*/ 81190 w 363979"/>
                <a:gd name="connsiteY99" fmla="*/ 162220 h 215419"/>
                <a:gd name="connsiteX100" fmla="*/ 79635 w 363979"/>
                <a:gd name="connsiteY100" fmla="*/ 162633 h 215419"/>
                <a:gd name="connsiteX101" fmla="*/ 76518 w 363979"/>
                <a:gd name="connsiteY101" fmla="*/ 163560 h 215419"/>
                <a:gd name="connsiteX102" fmla="*/ 74817 w 363979"/>
                <a:gd name="connsiteY102" fmla="*/ 164342 h 215419"/>
                <a:gd name="connsiteX103" fmla="*/ 72223 w 363979"/>
                <a:gd name="connsiteY103" fmla="*/ 165689 h 215419"/>
                <a:gd name="connsiteX104" fmla="*/ 70610 w 363979"/>
                <a:gd name="connsiteY104" fmla="*/ 166790 h 215419"/>
                <a:gd name="connsiteX105" fmla="*/ 68401 w 363979"/>
                <a:gd name="connsiteY105" fmla="*/ 168513 h 215419"/>
                <a:gd name="connsiteX106" fmla="*/ 66974 w 363979"/>
                <a:gd name="connsiteY106" fmla="*/ 169889 h 215419"/>
                <a:gd name="connsiteX107" fmla="*/ 65131 w 363979"/>
                <a:gd name="connsiteY107" fmla="*/ 171974 h 215419"/>
                <a:gd name="connsiteX108" fmla="*/ 63946 w 363979"/>
                <a:gd name="connsiteY108" fmla="*/ 173567 h 215419"/>
                <a:gd name="connsiteX109" fmla="*/ 62500 w 363979"/>
                <a:gd name="connsiteY109" fmla="*/ 175993 h 215419"/>
                <a:gd name="connsiteX110" fmla="*/ 61606 w 363979"/>
                <a:gd name="connsiteY110" fmla="*/ 177745 h 215419"/>
                <a:gd name="connsiteX111" fmla="*/ 60597 w 363979"/>
                <a:gd name="connsiteY111" fmla="*/ 180526 h 215419"/>
                <a:gd name="connsiteX112" fmla="*/ 60034 w 363979"/>
                <a:gd name="connsiteY112" fmla="*/ 182344 h 215419"/>
                <a:gd name="connsiteX113" fmla="*/ 59867 w 363979"/>
                <a:gd name="connsiteY113" fmla="*/ 182887 h 215419"/>
                <a:gd name="connsiteX114" fmla="*/ 18425 w 363979"/>
                <a:gd name="connsiteY114" fmla="*/ 182887 h 215419"/>
                <a:gd name="connsiteX115" fmla="*/ 8812 w 363979"/>
                <a:gd name="connsiteY115" fmla="*/ 173307 h 215419"/>
                <a:gd name="connsiteX116" fmla="*/ 8812 w 363979"/>
                <a:gd name="connsiteY116" fmla="*/ 167159 h 215419"/>
                <a:gd name="connsiteX117" fmla="*/ 18425 w 363979"/>
                <a:gd name="connsiteY117" fmla="*/ 157586 h 215419"/>
                <a:gd name="connsiteX118" fmla="*/ 22831 w 363979"/>
                <a:gd name="connsiteY118" fmla="*/ 153191 h 215419"/>
                <a:gd name="connsiteX119" fmla="*/ 22831 w 363979"/>
                <a:gd name="connsiteY119" fmla="*/ 153191 h 215419"/>
                <a:gd name="connsiteX120" fmla="*/ 22831 w 363979"/>
                <a:gd name="connsiteY120" fmla="*/ 40135 h 215419"/>
                <a:gd name="connsiteX121" fmla="*/ 38735 w 363979"/>
                <a:gd name="connsiteY121" fmla="*/ 24291 h 215419"/>
                <a:gd name="connsiteX122" fmla="*/ 280977 w 363979"/>
                <a:gd name="connsiteY122" fmla="*/ 24291 h 215419"/>
                <a:gd name="connsiteX123" fmla="*/ 294506 w 363979"/>
                <a:gd name="connsiteY123" fmla="*/ 31815 h 215419"/>
                <a:gd name="connsiteX124" fmla="*/ 338017 w 363979"/>
                <a:gd name="connsiteY124" fmla="*/ 102061 h 215419"/>
                <a:gd name="connsiteX125" fmla="*/ 341149 w 363979"/>
                <a:gd name="connsiteY125" fmla="*/ 113075 h 215419"/>
                <a:gd name="connsiteX126" fmla="*/ 341149 w 363979"/>
                <a:gd name="connsiteY126" fmla="*/ 153191 h 215419"/>
                <a:gd name="connsiteX127" fmla="*/ 345552 w 363979"/>
                <a:gd name="connsiteY127" fmla="*/ 157586 h 215419"/>
                <a:gd name="connsiteX128" fmla="*/ 345552 w 363979"/>
                <a:gd name="connsiteY128" fmla="*/ 157586 h 215419"/>
                <a:gd name="connsiteX129" fmla="*/ 355165 w 363979"/>
                <a:gd name="connsiteY129" fmla="*/ 167159 h 215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363979" h="215419">
                  <a:moveTo>
                    <a:pt x="349963" y="149331"/>
                  </a:moveTo>
                  <a:lnTo>
                    <a:pt x="349963" y="113075"/>
                  </a:lnTo>
                  <a:cubicBezTo>
                    <a:pt x="349963" y="107550"/>
                    <a:pt x="348422" y="102141"/>
                    <a:pt x="345508" y="97448"/>
                  </a:cubicBezTo>
                  <a:lnTo>
                    <a:pt x="302005" y="27202"/>
                  </a:lnTo>
                  <a:cubicBezTo>
                    <a:pt x="297529" y="19910"/>
                    <a:pt x="289551" y="15480"/>
                    <a:pt x="280977" y="15511"/>
                  </a:cubicBezTo>
                  <a:lnTo>
                    <a:pt x="242661" y="15511"/>
                  </a:lnTo>
                  <a:lnTo>
                    <a:pt x="242661" y="4391"/>
                  </a:lnTo>
                  <a:cubicBezTo>
                    <a:pt x="242661" y="1967"/>
                    <a:pt x="240692" y="1"/>
                    <a:pt x="238265" y="0"/>
                  </a:cubicBezTo>
                  <a:cubicBezTo>
                    <a:pt x="238258" y="0"/>
                    <a:pt x="238258" y="0"/>
                    <a:pt x="238258" y="0"/>
                  </a:cubicBezTo>
                  <a:lnTo>
                    <a:pt x="209890" y="0"/>
                  </a:lnTo>
                  <a:cubicBezTo>
                    <a:pt x="207456" y="-1"/>
                    <a:pt x="205487" y="1964"/>
                    <a:pt x="205487" y="4388"/>
                  </a:cubicBezTo>
                  <a:cubicBezTo>
                    <a:pt x="205487" y="4390"/>
                    <a:pt x="205487" y="4390"/>
                    <a:pt x="205487" y="4391"/>
                  </a:cubicBezTo>
                  <a:lnTo>
                    <a:pt x="205487" y="15511"/>
                  </a:lnTo>
                  <a:lnTo>
                    <a:pt x="38735" y="15511"/>
                  </a:lnTo>
                  <a:cubicBezTo>
                    <a:pt x="25092" y="15524"/>
                    <a:pt x="14034" y="26543"/>
                    <a:pt x="14018" y="40135"/>
                  </a:cubicBezTo>
                  <a:lnTo>
                    <a:pt x="14018" y="149331"/>
                  </a:lnTo>
                  <a:cubicBezTo>
                    <a:pt x="5792" y="151359"/>
                    <a:pt x="11" y="158716"/>
                    <a:pt x="0" y="167159"/>
                  </a:cubicBezTo>
                  <a:lnTo>
                    <a:pt x="0" y="173307"/>
                  </a:lnTo>
                  <a:cubicBezTo>
                    <a:pt x="11" y="183444"/>
                    <a:pt x="8254" y="191656"/>
                    <a:pt x="18425" y="191670"/>
                  </a:cubicBezTo>
                  <a:lnTo>
                    <a:pt x="59544" y="191670"/>
                  </a:lnTo>
                  <a:cubicBezTo>
                    <a:pt x="61173" y="206319"/>
                    <a:pt x="74410" y="216877"/>
                    <a:pt x="89110" y="215255"/>
                  </a:cubicBezTo>
                  <a:cubicBezTo>
                    <a:pt x="101572" y="213879"/>
                    <a:pt x="111403" y="204081"/>
                    <a:pt x="112784" y="191670"/>
                  </a:cubicBezTo>
                  <a:lnTo>
                    <a:pt x="235199" y="191670"/>
                  </a:lnTo>
                  <a:cubicBezTo>
                    <a:pt x="236827" y="206319"/>
                    <a:pt x="250066" y="216877"/>
                    <a:pt x="264765" y="215255"/>
                  </a:cubicBezTo>
                  <a:cubicBezTo>
                    <a:pt x="277220" y="213879"/>
                    <a:pt x="287058" y="204081"/>
                    <a:pt x="288439" y="191670"/>
                  </a:cubicBezTo>
                  <a:lnTo>
                    <a:pt x="345552" y="191670"/>
                  </a:lnTo>
                  <a:cubicBezTo>
                    <a:pt x="355725" y="191656"/>
                    <a:pt x="363972" y="183444"/>
                    <a:pt x="363979" y="173307"/>
                  </a:cubicBezTo>
                  <a:lnTo>
                    <a:pt x="363979" y="167159"/>
                  </a:lnTo>
                  <a:cubicBezTo>
                    <a:pt x="363972" y="158716"/>
                    <a:pt x="358188" y="151359"/>
                    <a:pt x="349963" y="149331"/>
                  </a:cubicBezTo>
                  <a:close/>
                  <a:moveTo>
                    <a:pt x="214294" y="8783"/>
                  </a:moveTo>
                  <a:lnTo>
                    <a:pt x="233855" y="8783"/>
                  </a:lnTo>
                  <a:lnTo>
                    <a:pt x="233855" y="15511"/>
                  </a:lnTo>
                  <a:lnTo>
                    <a:pt x="214294" y="15511"/>
                  </a:lnTo>
                  <a:close/>
                  <a:moveTo>
                    <a:pt x="86160" y="206638"/>
                  </a:moveTo>
                  <a:cubicBezTo>
                    <a:pt x="76162" y="206623"/>
                    <a:pt x="68052" y="198542"/>
                    <a:pt x="68045" y="188578"/>
                  </a:cubicBezTo>
                  <a:cubicBezTo>
                    <a:pt x="68045" y="188368"/>
                    <a:pt x="68060" y="188151"/>
                    <a:pt x="68074" y="187948"/>
                  </a:cubicBezTo>
                  <a:lnTo>
                    <a:pt x="68103" y="187528"/>
                  </a:lnTo>
                  <a:cubicBezTo>
                    <a:pt x="68663" y="177593"/>
                    <a:pt x="77208" y="169990"/>
                    <a:pt x="87185" y="170548"/>
                  </a:cubicBezTo>
                  <a:cubicBezTo>
                    <a:pt x="96369" y="171069"/>
                    <a:pt x="103708" y="178375"/>
                    <a:pt x="104224" y="187528"/>
                  </a:cubicBezTo>
                  <a:lnTo>
                    <a:pt x="104253" y="187948"/>
                  </a:lnTo>
                  <a:cubicBezTo>
                    <a:pt x="104268" y="188151"/>
                    <a:pt x="104282" y="188368"/>
                    <a:pt x="104282" y="188578"/>
                  </a:cubicBezTo>
                  <a:cubicBezTo>
                    <a:pt x="104275" y="198542"/>
                    <a:pt x="96166" y="206623"/>
                    <a:pt x="86160" y="206638"/>
                  </a:cubicBezTo>
                  <a:close/>
                  <a:moveTo>
                    <a:pt x="261815" y="206638"/>
                  </a:moveTo>
                  <a:cubicBezTo>
                    <a:pt x="251817" y="206623"/>
                    <a:pt x="243708" y="198542"/>
                    <a:pt x="243693" y="188578"/>
                  </a:cubicBezTo>
                  <a:cubicBezTo>
                    <a:pt x="243693" y="188361"/>
                    <a:pt x="243715" y="188151"/>
                    <a:pt x="243730" y="187934"/>
                  </a:cubicBezTo>
                  <a:lnTo>
                    <a:pt x="243751" y="187528"/>
                  </a:lnTo>
                  <a:cubicBezTo>
                    <a:pt x="244318" y="177593"/>
                    <a:pt x="252863" y="169990"/>
                    <a:pt x="262840" y="170548"/>
                  </a:cubicBezTo>
                  <a:cubicBezTo>
                    <a:pt x="272025" y="171069"/>
                    <a:pt x="279356" y="178375"/>
                    <a:pt x="279879" y="187528"/>
                  </a:cubicBezTo>
                  <a:lnTo>
                    <a:pt x="279879" y="187528"/>
                  </a:lnTo>
                  <a:lnTo>
                    <a:pt x="279901" y="187934"/>
                  </a:lnTo>
                  <a:cubicBezTo>
                    <a:pt x="279916" y="188151"/>
                    <a:pt x="279937" y="188361"/>
                    <a:pt x="279937" y="188578"/>
                  </a:cubicBezTo>
                  <a:cubicBezTo>
                    <a:pt x="279923" y="198549"/>
                    <a:pt x="271821" y="206623"/>
                    <a:pt x="261815" y="206638"/>
                  </a:cubicBezTo>
                  <a:close/>
                  <a:moveTo>
                    <a:pt x="355165" y="173307"/>
                  </a:moveTo>
                  <a:cubicBezTo>
                    <a:pt x="355165" y="178593"/>
                    <a:pt x="350864" y="182879"/>
                    <a:pt x="345552" y="182887"/>
                  </a:cubicBezTo>
                  <a:lnTo>
                    <a:pt x="288112" y="182887"/>
                  </a:lnTo>
                  <a:cubicBezTo>
                    <a:pt x="288076" y="182698"/>
                    <a:pt x="287988" y="182525"/>
                    <a:pt x="287945" y="182344"/>
                  </a:cubicBezTo>
                  <a:cubicBezTo>
                    <a:pt x="287792" y="181721"/>
                    <a:pt x="287574" y="181127"/>
                    <a:pt x="287385" y="180526"/>
                  </a:cubicBezTo>
                  <a:cubicBezTo>
                    <a:pt x="287095" y="179577"/>
                    <a:pt x="286761" y="178651"/>
                    <a:pt x="286375" y="177745"/>
                  </a:cubicBezTo>
                  <a:cubicBezTo>
                    <a:pt x="286106" y="177137"/>
                    <a:pt x="285787" y="176572"/>
                    <a:pt x="285482" y="175993"/>
                  </a:cubicBezTo>
                  <a:cubicBezTo>
                    <a:pt x="285038" y="175160"/>
                    <a:pt x="284559" y="174349"/>
                    <a:pt x="284036" y="173567"/>
                  </a:cubicBezTo>
                  <a:cubicBezTo>
                    <a:pt x="283658" y="173010"/>
                    <a:pt x="283258" y="172488"/>
                    <a:pt x="282851" y="171974"/>
                  </a:cubicBezTo>
                  <a:cubicBezTo>
                    <a:pt x="282270" y="171243"/>
                    <a:pt x="281652" y="170548"/>
                    <a:pt x="281006" y="169882"/>
                  </a:cubicBezTo>
                  <a:cubicBezTo>
                    <a:pt x="280541" y="169411"/>
                    <a:pt x="280076" y="168955"/>
                    <a:pt x="279581" y="168513"/>
                  </a:cubicBezTo>
                  <a:cubicBezTo>
                    <a:pt x="278869" y="167897"/>
                    <a:pt x="278128" y="167325"/>
                    <a:pt x="277365" y="166782"/>
                  </a:cubicBezTo>
                  <a:cubicBezTo>
                    <a:pt x="276827" y="166406"/>
                    <a:pt x="276312" y="166029"/>
                    <a:pt x="275752" y="165689"/>
                  </a:cubicBezTo>
                  <a:cubicBezTo>
                    <a:pt x="274916" y="165189"/>
                    <a:pt x="274052" y="164740"/>
                    <a:pt x="273158" y="164342"/>
                  </a:cubicBezTo>
                  <a:cubicBezTo>
                    <a:pt x="272591" y="164074"/>
                    <a:pt x="272046" y="163784"/>
                    <a:pt x="271458" y="163560"/>
                  </a:cubicBezTo>
                  <a:cubicBezTo>
                    <a:pt x="270440" y="163191"/>
                    <a:pt x="269394" y="162879"/>
                    <a:pt x="268340" y="162633"/>
                  </a:cubicBezTo>
                  <a:cubicBezTo>
                    <a:pt x="267817" y="162503"/>
                    <a:pt x="267323" y="162322"/>
                    <a:pt x="266793" y="162220"/>
                  </a:cubicBezTo>
                  <a:cubicBezTo>
                    <a:pt x="263508" y="161576"/>
                    <a:pt x="260130" y="161576"/>
                    <a:pt x="256845" y="162220"/>
                  </a:cubicBezTo>
                  <a:cubicBezTo>
                    <a:pt x="256307" y="162322"/>
                    <a:pt x="255813" y="162503"/>
                    <a:pt x="255290" y="162633"/>
                  </a:cubicBezTo>
                  <a:cubicBezTo>
                    <a:pt x="254229" y="162879"/>
                    <a:pt x="253190" y="163191"/>
                    <a:pt x="252173" y="163560"/>
                  </a:cubicBezTo>
                  <a:cubicBezTo>
                    <a:pt x="251584" y="163784"/>
                    <a:pt x="251032" y="164081"/>
                    <a:pt x="250465" y="164349"/>
                  </a:cubicBezTo>
                  <a:cubicBezTo>
                    <a:pt x="249579" y="164748"/>
                    <a:pt x="248714" y="165189"/>
                    <a:pt x="247879" y="165689"/>
                  </a:cubicBezTo>
                  <a:cubicBezTo>
                    <a:pt x="247319" y="166029"/>
                    <a:pt x="246796" y="166413"/>
                    <a:pt x="246258" y="166790"/>
                  </a:cubicBezTo>
                  <a:cubicBezTo>
                    <a:pt x="245495" y="167325"/>
                    <a:pt x="244761" y="167897"/>
                    <a:pt x="244056" y="168513"/>
                  </a:cubicBezTo>
                  <a:cubicBezTo>
                    <a:pt x="243555" y="168955"/>
                    <a:pt x="243083" y="169411"/>
                    <a:pt x="242618" y="169896"/>
                  </a:cubicBezTo>
                  <a:cubicBezTo>
                    <a:pt x="241971" y="170548"/>
                    <a:pt x="241361" y="171243"/>
                    <a:pt x="240794" y="171960"/>
                  </a:cubicBezTo>
                  <a:cubicBezTo>
                    <a:pt x="240373" y="172488"/>
                    <a:pt x="239973" y="173017"/>
                    <a:pt x="239595" y="173575"/>
                  </a:cubicBezTo>
                  <a:cubicBezTo>
                    <a:pt x="239072" y="174349"/>
                    <a:pt x="238592" y="175146"/>
                    <a:pt x="238156" y="175979"/>
                  </a:cubicBezTo>
                  <a:cubicBezTo>
                    <a:pt x="237844" y="176565"/>
                    <a:pt x="237524" y="177137"/>
                    <a:pt x="237255" y="177753"/>
                  </a:cubicBezTo>
                  <a:cubicBezTo>
                    <a:pt x="236870" y="178651"/>
                    <a:pt x="236543" y="179563"/>
                    <a:pt x="236260" y="180504"/>
                  </a:cubicBezTo>
                  <a:cubicBezTo>
                    <a:pt x="236064" y="181120"/>
                    <a:pt x="235838" y="181714"/>
                    <a:pt x="235686" y="182351"/>
                  </a:cubicBezTo>
                  <a:cubicBezTo>
                    <a:pt x="235642" y="182532"/>
                    <a:pt x="235562" y="182698"/>
                    <a:pt x="235519" y="182887"/>
                  </a:cubicBezTo>
                  <a:lnTo>
                    <a:pt x="112457" y="182887"/>
                  </a:lnTo>
                  <a:cubicBezTo>
                    <a:pt x="112420" y="182698"/>
                    <a:pt x="112333" y="182532"/>
                    <a:pt x="112290" y="182351"/>
                  </a:cubicBezTo>
                  <a:cubicBezTo>
                    <a:pt x="112144" y="181714"/>
                    <a:pt x="111919" y="181113"/>
                    <a:pt x="111723" y="180504"/>
                  </a:cubicBezTo>
                  <a:cubicBezTo>
                    <a:pt x="111439" y="179563"/>
                    <a:pt x="111105" y="178651"/>
                    <a:pt x="110727" y="177753"/>
                  </a:cubicBezTo>
                  <a:cubicBezTo>
                    <a:pt x="110451" y="177137"/>
                    <a:pt x="110132" y="176565"/>
                    <a:pt x="109819" y="175971"/>
                  </a:cubicBezTo>
                  <a:cubicBezTo>
                    <a:pt x="109383" y="175146"/>
                    <a:pt x="108904" y="174349"/>
                    <a:pt x="108388" y="173575"/>
                  </a:cubicBezTo>
                  <a:cubicBezTo>
                    <a:pt x="108010" y="173017"/>
                    <a:pt x="107603" y="172488"/>
                    <a:pt x="107189" y="171960"/>
                  </a:cubicBezTo>
                  <a:cubicBezTo>
                    <a:pt x="106615" y="171236"/>
                    <a:pt x="106004" y="170555"/>
                    <a:pt x="105365" y="169896"/>
                  </a:cubicBezTo>
                  <a:cubicBezTo>
                    <a:pt x="104893" y="169418"/>
                    <a:pt x="104420" y="168955"/>
                    <a:pt x="103919" y="168506"/>
                  </a:cubicBezTo>
                  <a:cubicBezTo>
                    <a:pt x="103214" y="167897"/>
                    <a:pt x="102487" y="167325"/>
                    <a:pt x="101724" y="166797"/>
                  </a:cubicBezTo>
                  <a:cubicBezTo>
                    <a:pt x="101187" y="166413"/>
                    <a:pt x="100664" y="166029"/>
                    <a:pt x="100097" y="165682"/>
                  </a:cubicBezTo>
                  <a:cubicBezTo>
                    <a:pt x="99261" y="165189"/>
                    <a:pt x="98404" y="164748"/>
                    <a:pt x="97517" y="164349"/>
                  </a:cubicBezTo>
                  <a:cubicBezTo>
                    <a:pt x="96951" y="164081"/>
                    <a:pt x="96398" y="163784"/>
                    <a:pt x="95802" y="163560"/>
                  </a:cubicBezTo>
                  <a:cubicBezTo>
                    <a:pt x="94785" y="163191"/>
                    <a:pt x="93746" y="162879"/>
                    <a:pt x="92692" y="162633"/>
                  </a:cubicBezTo>
                  <a:cubicBezTo>
                    <a:pt x="92169" y="162503"/>
                    <a:pt x="91675" y="162322"/>
                    <a:pt x="91137" y="162220"/>
                  </a:cubicBezTo>
                  <a:cubicBezTo>
                    <a:pt x="87853" y="161576"/>
                    <a:pt x="84474" y="161576"/>
                    <a:pt x="81190" y="162220"/>
                  </a:cubicBezTo>
                  <a:cubicBezTo>
                    <a:pt x="80659" y="162322"/>
                    <a:pt x="80158" y="162503"/>
                    <a:pt x="79635" y="162633"/>
                  </a:cubicBezTo>
                  <a:cubicBezTo>
                    <a:pt x="78581" y="162879"/>
                    <a:pt x="77535" y="163191"/>
                    <a:pt x="76518" y="163560"/>
                  </a:cubicBezTo>
                  <a:cubicBezTo>
                    <a:pt x="75929" y="163784"/>
                    <a:pt x="75384" y="164074"/>
                    <a:pt x="74817" y="164342"/>
                  </a:cubicBezTo>
                  <a:cubicBezTo>
                    <a:pt x="73931" y="164740"/>
                    <a:pt x="73066" y="165189"/>
                    <a:pt x="72223" y="165689"/>
                  </a:cubicBezTo>
                  <a:cubicBezTo>
                    <a:pt x="71664" y="166029"/>
                    <a:pt x="71148" y="166406"/>
                    <a:pt x="70610" y="166790"/>
                  </a:cubicBezTo>
                  <a:cubicBezTo>
                    <a:pt x="69847" y="167325"/>
                    <a:pt x="69106" y="167905"/>
                    <a:pt x="68401" y="168513"/>
                  </a:cubicBezTo>
                  <a:cubicBezTo>
                    <a:pt x="67903" y="168955"/>
                    <a:pt x="67437" y="169411"/>
                    <a:pt x="66974" y="169889"/>
                  </a:cubicBezTo>
                  <a:cubicBezTo>
                    <a:pt x="66324" y="170548"/>
                    <a:pt x="65708" y="171243"/>
                    <a:pt x="65131" y="171974"/>
                  </a:cubicBezTo>
                  <a:cubicBezTo>
                    <a:pt x="64717" y="172496"/>
                    <a:pt x="64320" y="173017"/>
                    <a:pt x="63946" y="173567"/>
                  </a:cubicBezTo>
                  <a:cubicBezTo>
                    <a:pt x="63421" y="174349"/>
                    <a:pt x="62938" y="175153"/>
                    <a:pt x="62500" y="175993"/>
                  </a:cubicBezTo>
                  <a:cubicBezTo>
                    <a:pt x="62187" y="176572"/>
                    <a:pt x="61875" y="177137"/>
                    <a:pt x="61606" y="177745"/>
                  </a:cubicBezTo>
                  <a:cubicBezTo>
                    <a:pt x="61219" y="178651"/>
                    <a:pt x="60881" y="179577"/>
                    <a:pt x="60597" y="180526"/>
                  </a:cubicBezTo>
                  <a:cubicBezTo>
                    <a:pt x="60405" y="181134"/>
                    <a:pt x="60183" y="181721"/>
                    <a:pt x="60034" y="182344"/>
                  </a:cubicBezTo>
                  <a:cubicBezTo>
                    <a:pt x="59990" y="182532"/>
                    <a:pt x="59906" y="182698"/>
                    <a:pt x="59867" y="182887"/>
                  </a:cubicBezTo>
                  <a:lnTo>
                    <a:pt x="18425" y="182887"/>
                  </a:lnTo>
                  <a:cubicBezTo>
                    <a:pt x="13118" y="182879"/>
                    <a:pt x="8818" y="178593"/>
                    <a:pt x="8812" y="173307"/>
                  </a:cubicBezTo>
                  <a:lnTo>
                    <a:pt x="8812" y="167159"/>
                  </a:lnTo>
                  <a:cubicBezTo>
                    <a:pt x="8818" y="161873"/>
                    <a:pt x="13119" y="157586"/>
                    <a:pt x="18425" y="157586"/>
                  </a:cubicBezTo>
                  <a:cubicBezTo>
                    <a:pt x="20859" y="157586"/>
                    <a:pt x="22831" y="155616"/>
                    <a:pt x="22831" y="153191"/>
                  </a:cubicBezTo>
                  <a:cubicBezTo>
                    <a:pt x="22831" y="153191"/>
                    <a:pt x="22831" y="153191"/>
                    <a:pt x="22831" y="153191"/>
                  </a:cubicBezTo>
                  <a:lnTo>
                    <a:pt x="22831" y="40135"/>
                  </a:lnTo>
                  <a:cubicBezTo>
                    <a:pt x="22842" y="31387"/>
                    <a:pt x="29957" y="24298"/>
                    <a:pt x="38735" y="24291"/>
                  </a:cubicBezTo>
                  <a:lnTo>
                    <a:pt x="280977" y="24291"/>
                  </a:lnTo>
                  <a:cubicBezTo>
                    <a:pt x="286499" y="24277"/>
                    <a:pt x="291622" y="27122"/>
                    <a:pt x="294506" y="31815"/>
                  </a:cubicBezTo>
                  <a:lnTo>
                    <a:pt x="338017" y="102061"/>
                  </a:lnTo>
                  <a:cubicBezTo>
                    <a:pt x="340066" y="105370"/>
                    <a:pt x="341149" y="109179"/>
                    <a:pt x="341149" y="113075"/>
                  </a:cubicBezTo>
                  <a:lnTo>
                    <a:pt x="341149" y="153191"/>
                  </a:lnTo>
                  <a:cubicBezTo>
                    <a:pt x="341149" y="155616"/>
                    <a:pt x="343118" y="157586"/>
                    <a:pt x="345552" y="157586"/>
                  </a:cubicBezTo>
                  <a:cubicBezTo>
                    <a:pt x="345552" y="157586"/>
                    <a:pt x="345552" y="157586"/>
                    <a:pt x="345552" y="157586"/>
                  </a:cubicBezTo>
                  <a:cubicBezTo>
                    <a:pt x="350864" y="157586"/>
                    <a:pt x="355158" y="161873"/>
                    <a:pt x="355165" y="167159"/>
                  </a:cubicBezTo>
                  <a:close/>
                </a:path>
              </a:pathLst>
            </a:custGeom>
            <a:grpFill/>
            <a:ln w="726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9">
              <a:extLst>
                <a:ext uri="{FF2B5EF4-FFF2-40B4-BE49-F238E27FC236}">
                  <a16:creationId xmlns:a16="http://schemas.microsoft.com/office/drawing/2014/main" id="{BAE75FD3-A1DC-6048-9540-F79F937F1557}"/>
                </a:ext>
              </a:extLst>
            </p:cNvPr>
            <p:cNvSpPr/>
            <p:nvPr/>
          </p:nvSpPr>
          <p:spPr>
            <a:xfrm>
              <a:off x="1736804" y="3420833"/>
              <a:ext cx="68404" cy="68160"/>
            </a:xfrm>
            <a:custGeom>
              <a:avLst/>
              <a:gdLst>
                <a:gd name="connsiteX0" fmla="*/ 30090 w 68404"/>
                <a:gd name="connsiteY0" fmla="*/ 2042 h 68160"/>
                <a:gd name="connsiteX1" fmla="*/ 26362 w 68404"/>
                <a:gd name="connsiteY1" fmla="*/ 0 h 68160"/>
                <a:gd name="connsiteX2" fmla="*/ 4411 w 68404"/>
                <a:gd name="connsiteY2" fmla="*/ 0 h 68160"/>
                <a:gd name="connsiteX3" fmla="*/ 0 w 68404"/>
                <a:gd name="connsiteY3" fmla="*/ 4388 h 68160"/>
                <a:gd name="connsiteX4" fmla="*/ 0 w 68404"/>
                <a:gd name="connsiteY4" fmla="*/ 4388 h 68160"/>
                <a:gd name="connsiteX5" fmla="*/ 0 w 68404"/>
                <a:gd name="connsiteY5" fmla="*/ 63773 h 68160"/>
                <a:gd name="connsiteX6" fmla="*/ 4411 w 68404"/>
                <a:gd name="connsiteY6" fmla="*/ 68161 h 68160"/>
                <a:gd name="connsiteX7" fmla="*/ 64001 w 68404"/>
                <a:gd name="connsiteY7" fmla="*/ 68161 h 68160"/>
                <a:gd name="connsiteX8" fmla="*/ 68405 w 68404"/>
                <a:gd name="connsiteY8" fmla="*/ 63780 h 68160"/>
                <a:gd name="connsiteX9" fmla="*/ 67722 w 68404"/>
                <a:gd name="connsiteY9" fmla="*/ 61427 h 68160"/>
                <a:gd name="connsiteX10" fmla="*/ 8814 w 68404"/>
                <a:gd name="connsiteY10" fmla="*/ 59377 h 68160"/>
                <a:gd name="connsiteX11" fmla="*/ 8814 w 68404"/>
                <a:gd name="connsiteY11" fmla="*/ 8783 h 68160"/>
                <a:gd name="connsiteX12" fmla="*/ 23935 w 68404"/>
                <a:gd name="connsiteY12" fmla="*/ 8783 h 68160"/>
                <a:gd name="connsiteX13" fmla="*/ 56009 w 68404"/>
                <a:gd name="connsiteY13" fmla="*/ 59377 h 68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8404" h="68160">
                  <a:moveTo>
                    <a:pt x="30090" y="2042"/>
                  </a:moveTo>
                  <a:cubicBezTo>
                    <a:pt x="29283" y="775"/>
                    <a:pt x="27873" y="0"/>
                    <a:pt x="26362" y="0"/>
                  </a:cubicBezTo>
                  <a:lnTo>
                    <a:pt x="4411" y="0"/>
                  </a:lnTo>
                  <a:cubicBezTo>
                    <a:pt x="1976" y="0"/>
                    <a:pt x="7" y="1962"/>
                    <a:pt x="0" y="4388"/>
                  </a:cubicBezTo>
                  <a:cubicBezTo>
                    <a:pt x="0" y="4388"/>
                    <a:pt x="0" y="4388"/>
                    <a:pt x="0" y="4388"/>
                  </a:cubicBezTo>
                  <a:lnTo>
                    <a:pt x="0" y="63773"/>
                  </a:lnTo>
                  <a:cubicBezTo>
                    <a:pt x="0" y="66199"/>
                    <a:pt x="1976" y="68161"/>
                    <a:pt x="4411" y="68161"/>
                  </a:cubicBezTo>
                  <a:lnTo>
                    <a:pt x="64001" y="68161"/>
                  </a:lnTo>
                  <a:cubicBezTo>
                    <a:pt x="66436" y="68168"/>
                    <a:pt x="68405" y="66199"/>
                    <a:pt x="68405" y="63780"/>
                  </a:cubicBezTo>
                  <a:cubicBezTo>
                    <a:pt x="68405" y="62947"/>
                    <a:pt x="68172" y="62129"/>
                    <a:pt x="67722" y="61427"/>
                  </a:cubicBezTo>
                  <a:close/>
                  <a:moveTo>
                    <a:pt x="8814" y="59377"/>
                  </a:moveTo>
                  <a:lnTo>
                    <a:pt x="8814" y="8783"/>
                  </a:lnTo>
                  <a:lnTo>
                    <a:pt x="23935" y="8783"/>
                  </a:lnTo>
                  <a:lnTo>
                    <a:pt x="56009" y="59377"/>
                  </a:lnTo>
                  <a:close/>
                </a:path>
              </a:pathLst>
            </a:custGeom>
            <a:grpFill/>
            <a:ln w="726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00240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638269" y="199494"/>
            <a:ext cx="8712000" cy="43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suis un </a:t>
            </a:r>
            <a:r>
              <a:rPr lang="fr-FR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 </a:t>
            </a:r>
            <a:r>
              <a:rPr lang="fr-FR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fr-FR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urs </a:t>
            </a:r>
            <a:r>
              <a:rPr lang="fr-FR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d’aide médicale d’urgence, </a:t>
            </a:r>
            <a:r>
              <a:rPr lang="fr-FR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s quelles conditions puis-je utiliser la marque ? </a:t>
            </a:r>
            <a:endParaRPr lang="fr-FR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Espace réservé du numéro de diapositive 1"/>
          <p:cNvSpPr>
            <a:spLocks noGrp="1"/>
          </p:cNvSpPr>
          <p:nvPr>
            <p:ph type="sldNum" sz="quarter" idx="12"/>
          </p:nvPr>
        </p:nvSpPr>
        <p:spPr>
          <a:xfrm>
            <a:off x="9863667" y="6523630"/>
            <a:ext cx="1799766" cy="324000"/>
          </a:xfrm>
        </p:spPr>
        <p:txBody>
          <a:bodyPr anchor="ctr"/>
          <a:lstStyle/>
          <a:p>
            <a:pPr algn="r" defTabSz="1219048">
              <a:buClrTx/>
              <a:buSzTx/>
              <a:defRPr/>
            </a:pPr>
            <a:fld id="{733122C9-A0B9-462F-8757-0847AD287B63}" type="slidenum">
              <a:rPr lang="fr-FR" sz="1050">
                <a:solidFill>
                  <a:srgbClr val="FFFFFF"/>
                </a:solidFill>
                <a:latin typeface="Arial"/>
                <a:ea typeface="+mn-ea"/>
                <a:cs typeface="+mn-cs"/>
              </a:rPr>
              <a:pPr algn="r" defTabSz="1219048">
                <a:buClrTx/>
                <a:buSzTx/>
                <a:defRPr/>
              </a:pPr>
              <a:t>4</a:t>
            </a:fld>
            <a:endParaRPr lang="fr-FR" sz="1050" dirty="0">
              <a:solidFill>
                <a:srgbClr val="FFFFFF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39" name="Rechteck 18"/>
          <p:cNvSpPr/>
          <p:nvPr>
            <p:custDataLst>
              <p:tags r:id="rId1"/>
            </p:custDataLst>
          </p:nvPr>
        </p:nvSpPr>
        <p:spPr bwMode="gray">
          <a:xfrm>
            <a:off x="477837" y="1757513"/>
            <a:ext cx="11504883" cy="1440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0" bIns="0" rtlCol="0" anchor="ctr" anchorCtr="0">
            <a:no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endParaRPr lang="fr-FR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0" name="Rectangle avec coins arrondis en diagonale 39">
            <a:extLst>
              <a:ext uri="{FF2B5EF4-FFF2-40B4-BE49-F238E27FC236}">
                <a16:creationId xmlns:a16="http://schemas.microsoft.com/office/drawing/2014/main" id="{E88DB530-21C2-EC48-AB99-4DFA630FA8C9}"/>
              </a:ext>
            </a:extLst>
          </p:cNvPr>
          <p:cNvSpPr/>
          <p:nvPr/>
        </p:nvSpPr>
        <p:spPr bwMode="gray">
          <a:xfrm>
            <a:off x="1161733" y="1289030"/>
            <a:ext cx="8280000" cy="540000"/>
          </a:xfrm>
          <a:prstGeom prst="round2DiagRect">
            <a:avLst/>
          </a:prstGeom>
          <a:solidFill>
            <a:srgbClr val="2E72B0"/>
          </a:solidFill>
          <a:ln w="38100" algn="ctr">
            <a:noFill/>
            <a:miter lim="800000"/>
            <a:headEnd/>
            <a:tailEnd/>
          </a:ln>
          <a:effectLst/>
        </p:spPr>
        <p:txBody>
          <a:bodyPr wrap="none" lIns="0" tIns="0" rIns="0" bIns="36000" rtlCol="0" anchor="ctr"/>
          <a:lstStyle/>
          <a:p>
            <a:pPr marL="182563">
              <a:spcBef>
                <a:spcPct val="0"/>
              </a:spcBef>
              <a:buSzPct val="90000"/>
            </a:pPr>
            <a:r>
              <a:rPr lang="fr-FR" sz="1800" b="1" dirty="0">
                <a:solidFill>
                  <a:schemeClr val="bg1"/>
                </a:solidFill>
                <a:cs typeface="Arial" panose="020B0604020202020204" pitchFamily="34" charset="0"/>
              </a:rPr>
              <a:t>Je diffuse les messages du Ministère de la Santé et de la Prévention</a:t>
            </a:r>
          </a:p>
        </p:txBody>
      </p:sp>
      <p:grpSp>
        <p:nvGrpSpPr>
          <p:cNvPr id="41" name="Gruppieren 27">
            <a:extLst>
              <a:ext uri="{FF2B5EF4-FFF2-40B4-BE49-F238E27FC236}">
                <a16:creationId xmlns:a16="http://schemas.microsoft.com/office/drawing/2014/main" id="{A86C02A6-7A47-0643-9605-75F8102EDFBA}"/>
              </a:ext>
            </a:extLst>
          </p:cNvPr>
          <p:cNvGrpSpPr>
            <a:grpSpLocks noChangeAspect="1"/>
          </p:cNvGrpSpPr>
          <p:nvPr/>
        </p:nvGrpSpPr>
        <p:grpSpPr>
          <a:xfrm>
            <a:off x="290834" y="1064271"/>
            <a:ext cx="972002" cy="972000"/>
            <a:chOff x="7502618" y="1206411"/>
            <a:chExt cx="650014" cy="650013"/>
          </a:xfrm>
          <a:solidFill>
            <a:srgbClr val="E97B7B"/>
          </a:solidFill>
        </p:grpSpPr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3F79BEB0-6F7D-FA4B-80AB-E09E16CD7EF4}"/>
                </a:ext>
              </a:extLst>
            </p:cNvPr>
            <p:cNvSpPr/>
            <p:nvPr/>
          </p:nvSpPr>
          <p:spPr bwMode="gray">
            <a:xfrm>
              <a:off x="7502618" y="1206412"/>
              <a:ext cx="487510" cy="487510"/>
            </a:xfrm>
            <a:prstGeom prst="ellipse">
              <a:avLst/>
            </a:prstGeom>
            <a:grpFill/>
            <a:ln w="15240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44" name="Ellipse 43">
              <a:extLst>
                <a:ext uri="{FF2B5EF4-FFF2-40B4-BE49-F238E27FC236}">
                  <a16:creationId xmlns:a16="http://schemas.microsoft.com/office/drawing/2014/main" id="{D910C680-A94C-6A4A-A1C0-68776357678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502619" y="1206411"/>
              <a:ext cx="650013" cy="650013"/>
            </a:xfrm>
            <a:prstGeom prst="ellipse">
              <a:avLst/>
            </a:prstGeom>
            <a:solidFill>
              <a:srgbClr val="2E72B0"/>
            </a:solidFill>
            <a:ln w="571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fr-CA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grpSp>
        <p:nvGrpSpPr>
          <p:cNvPr id="45" name="Group 1182">
            <a:extLst>
              <a:ext uri="{FF2B5EF4-FFF2-40B4-BE49-F238E27FC236}">
                <a16:creationId xmlns:a16="http://schemas.microsoft.com/office/drawing/2014/main" id="{5FDFEB1D-25BC-4D4B-B2BA-EB4472942B60}"/>
              </a:ext>
            </a:extLst>
          </p:cNvPr>
          <p:cNvGrpSpPr>
            <a:grpSpLocks noChangeAspect="1"/>
          </p:cNvGrpSpPr>
          <p:nvPr/>
        </p:nvGrpSpPr>
        <p:grpSpPr>
          <a:xfrm>
            <a:off x="418109" y="1329327"/>
            <a:ext cx="729920" cy="432000"/>
            <a:chOff x="1486666" y="3380815"/>
            <a:chExt cx="363979" cy="215419"/>
          </a:xfrm>
          <a:solidFill>
            <a:schemeClr val="bg1"/>
          </a:solidFill>
        </p:grpSpPr>
        <p:sp>
          <p:nvSpPr>
            <p:cNvPr id="46" name="Freeform 27">
              <a:extLst>
                <a:ext uri="{FF2B5EF4-FFF2-40B4-BE49-F238E27FC236}">
                  <a16:creationId xmlns:a16="http://schemas.microsoft.com/office/drawing/2014/main" id="{380CAC1D-CE3A-9E4D-A9BE-F519F6E183E8}"/>
                </a:ext>
              </a:extLst>
            </p:cNvPr>
            <p:cNvSpPr/>
            <p:nvPr/>
          </p:nvSpPr>
          <p:spPr>
            <a:xfrm>
              <a:off x="1582737" y="3427821"/>
              <a:ext cx="82915" cy="82635"/>
            </a:xfrm>
            <a:custGeom>
              <a:avLst/>
              <a:gdLst>
                <a:gd name="connsiteX0" fmla="*/ 78512 w 82915"/>
                <a:gd name="connsiteY0" fmla="*/ 26025 h 82635"/>
                <a:gd name="connsiteX1" fmla="*/ 56808 w 82915"/>
                <a:gd name="connsiteY1" fmla="*/ 26025 h 82635"/>
                <a:gd name="connsiteX2" fmla="*/ 56808 w 82915"/>
                <a:gd name="connsiteY2" fmla="*/ 4395 h 82635"/>
                <a:gd name="connsiteX3" fmla="*/ 52397 w 82915"/>
                <a:gd name="connsiteY3" fmla="*/ 0 h 82635"/>
                <a:gd name="connsiteX4" fmla="*/ 30518 w 82915"/>
                <a:gd name="connsiteY4" fmla="*/ 0 h 82635"/>
                <a:gd name="connsiteX5" fmla="*/ 26115 w 82915"/>
                <a:gd name="connsiteY5" fmla="*/ 4395 h 82635"/>
                <a:gd name="connsiteX6" fmla="*/ 26115 w 82915"/>
                <a:gd name="connsiteY6" fmla="*/ 26025 h 82635"/>
                <a:gd name="connsiteX7" fmla="*/ 4403 w 82915"/>
                <a:gd name="connsiteY7" fmla="*/ 26025 h 82635"/>
                <a:gd name="connsiteX8" fmla="*/ 0 w 82915"/>
                <a:gd name="connsiteY8" fmla="*/ 30413 h 82635"/>
                <a:gd name="connsiteX9" fmla="*/ 0 w 82915"/>
                <a:gd name="connsiteY9" fmla="*/ 52223 h 82635"/>
                <a:gd name="connsiteX10" fmla="*/ 4403 w 82915"/>
                <a:gd name="connsiteY10" fmla="*/ 56611 h 82635"/>
                <a:gd name="connsiteX11" fmla="*/ 26115 w 82915"/>
                <a:gd name="connsiteY11" fmla="*/ 56611 h 82635"/>
                <a:gd name="connsiteX12" fmla="*/ 26115 w 82915"/>
                <a:gd name="connsiteY12" fmla="*/ 78241 h 82635"/>
                <a:gd name="connsiteX13" fmla="*/ 30518 w 82915"/>
                <a:gd name="connsiteY13" fmla="*/ 82636 h 82635"/>
                <a:gd name="connsiteX14" fmla="*/ 52397 w 82915"/>
                <a:gd name="connsiteY14" fmla="*/ 82636 h 82635"/>
                <a:gd name="connsiteX15" fmla="*/ 56808 w 82915"/>
                <a:gd name="connsiteY15" fmla="*/ 78241 h 82635"/>
                <a:gd name="connsiteX16" fmla="*/ 56808 w 82915"/>
                <a:gd name="connsiteY16" fmla="*/ 56611 h 82635"/>
                <a:gd name="connsiteX17" fmla="*/ 78512 w 82915"/>
                <a:gd name="connsiteY17" fmla="*/ 56611 h 82635"/>
                <a:gd name="connsiteX18" fmla="*/ 82916 w 82915"/>
                <a:gd name="connsiteY18" fmla="*/ 52223 h 82635"/>
                <a:gd name="connsiteX19" fmla="*/ 82916 w 82915"/>
                <a:gd name="connsiteY19" fmla="*/ 30413 h 82635"/>
                <a:gd name="connsiteX20" fmla="*/ 78512 w 82915"/>
                <a:gd name="connsiteY20" fmla="*/ 26025 h 82635"/>
                <a:gd name="connsiteX21" fmla="*/ 74109 w 82915"/>
                <a:gd name="connsiteY21" fmla="*/ 47828 h 82635"/>
                <a:gd name="connsiteX22" fmla="*/ 52397 w 82915"/>
                <a:gd name="connsiteY22" fmla="*/ 47828 h 82635"/>
                <a:gd name="connsiteX23" fmla="*/ 47994 w 82915"/>
                <a:gd name="connsiteY23" fmla="*/ 52216 h 82635"/>
                <a:gd name="connsiteX24" fmla="*/ 47994 w 82915"/>
                <a:gd name="connsiteY24" fmla="*/ 52216 h 82635"/>
                <a:gd name="connsiteX25" fmla="*/ 47994 w 82915"/>
                <a:gd name="connsiteY25" fmla="*/ 73852 h 82635"/>
                <a:gd name="connsiteX26" fmla="*/ 34922 w 82915"/>
                <a:gd name="connsiteY26" fmla="*/ 73852 h 82635"/>
                <a:gd name="connsiteX27" fmla="*/ 34922 w 82915"/>
                <a:gd name="connsiteY27" fmla="*/ 52223 h 82635"/>
                <a:gd name="connsiteX28" fmla="*/ 30518 w 82915"/>
                <a:gd name="connsiteY28" fmla="*/ 47828 h 82635"/>
                <a:gd name="connsiteX29" fmla="*/ 30518 w 82915"/>
                <a:gd name="connsiteY29" fmla="*/ 47828 h 82635"/>
                <a:gd name="connsiteX30" fmla="*/ 8807 w 82915"/>
                <a:gd name="connsiteY30" fmla="*/ 47828 h 82635"/>
                <a:gd name="connsiteX31" fmla="*/ 8807 w 82915"/>
                <a:gd name="connsiteY31" fmla="*/ 34801 h 82635"/>
                <a:gd name="connsiteX32" fmla="*/ 30518 w 82915"/>
                <a:gd name="connsiteY32" fmla="*/ 34801 h 82635"/>
                <a:gd name="connsiteX33" fmla="*/ 34922 w 82915"/>
                <a:gd name="connsiteY33" fmla="*/ 30420 h 82635"/>
                <a:gd name="connsiteX34" fmla="*/ 34922 w 82915"/>
                <a:gd name="connsiteY34" fmla="*/ 30413 h 82635"/>
                <a:gd name="connsiteX35" fmla="*/ 34922 w 82915"/>
                <a:gd name="connsiteY35" fmla="*/ 8783 h 82635"/>
                <a:gd name="connsiteX36" fmla="*/ 47994 w 82915"/>
                <a:gd name="connsiteY36" fmla="*/ 8783 h 82635"/>
                <a:gd name="connsiteX37" fmla="*/ 47994 w 82915"/>
                <a:gd name="connsiteY37" fmla="*/ 30413 h 82635"/>
                <a:gd name="connsiteX38" fmla="*/ 52397 w 82915"/>
                <a:gd name="connsiteY38" fmla="*/ 34801 h 82635"/>
                <a:gd name="connsiteX39" fmla="*/ 52397 w 82915"/>
                <a:gd name="connsiteY39" fmla="*/ 34801 h 82635"/>
                <a:gd name="connsiteX40" fmla="*/ 74109 w 82915"/>
                <a:gd name="connsiteY40" fmla="*/ 34801 h 82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82915" h="82635">
                  <a:moveTo>
                    <a:pt x="78512" y="26025"/>
                  </a:moveTo>
                  <a:lnTo>
                    <a:pt x="56808" y="26025"/>
                  </a:lnTo>
                  <a:lnTo>
                    <a:pt x="56808" y="4395"/>
                  </a:lnTo>
                  <a:cubicBezTo>
                    <a:pt x="56808" y="1970"/>
                    <a:pt x="54831" y="0"/>
                    <a:pt x="52397" y="0"/>
                  </a:cubicBezTo>
                  <a:lnTo>
                    <a:pt x="30518" y="0"/>
                  </a:lnTo>
                  <a:cubicBezTo>
                    <a:pt x="28084" y="0"/>
                    <a:pt x="26115" y="1970"/>
                    <a:pt x="26115" y="4395"/>
                  </a:cubicBezTo>
                  <a:lnTo>
                    <a:pt x="26115" y="26025"/>
                  </a:lnTo>
                  <a:lnTo>
                    <a:pt x="4403" y="26025"/>
                  </a:lnTo>
                  <a:cubicBezTo>
                    <a:pt x="1969" y="26025"/>
                    <a:pt x="0" y="27987"/>
                    <a:pt x="0" y="30413"/>
                  </a:cubicBezTo>
                  <a:lnTo>
                    <a:pt x="0" y="52223"/>
                  </a:lnTo>
                  <a:cubicBezTo>
                    <a:pt x="0" y="54642"/>
                    <a:pt x="1969" y="56611"/>
                    <a:pt x="4403" y="56611"/>
                  </a:cubicBezTo>
                  <a:lnTo>
                    <a:pt x="26115" y="56611"/>
                  </a:lnTo>
                  <a:lnTo>
                    <a:pt x="26115" y="78241"/>
                  </a:lnTo>
                  <a:cubicBezTo>
                    <a:pt x="26115" y="80666"/>
                    <a:pt x="28084" y="82629"/>
                    <a:pt x="30518" y="82636"/>
                  </a:cubicBezTo>
                  <a:lnTo>
                    <a:pt x="52397" y="82636"/>
                  </a:lnTo>
                  <a:cubicBezTo>
                    <a:pt x="54831" y="82629"/>
                    <a:pt x="56808" y="80666"/>
                    <a:pt x="56808" y="78241"/>
                  </a:cubicBezTo>
                  <a:lnTo>
                    <a:pt x="56808" y="56611"/>
                  </a:lnTo>
                  <a:lnTo>
                    <a:pt x="78512" y="56611"/>
                  </a:lnTo>
                  <a:cubicBezTo>
                    <a:pt x="80946" y="56611"/>
                    <a:pt x="82916" y="54642"/>
                    <a:pt x="82916" y="52223"/>
                  </a:cubicBezTo>
                  <a:lnTo>
                    <a:pt x="82916" y="30413"/>
                  </a:lnTo>
                  <a:cubicBezTo>
                    <a:pt x="82916" y="27987"/>
                    <a:pt x="80946" y="26025"/>
                    <a:pt x="78512" y="26025"/>
                  </a:cubicBezTo>
                  <a:close/>
                  <a:moveTo>
                    <a:pt x="74109" y="47828"/>
                  </a:moveTo>
                  <a:lnTo>
                    <a:pt x="52397" y="47828"/>
                  </a:lnTo>
                  <a:cubicBezTo>
                    <a:pt x="49963" y="47828"/>
                    <a:pt x="47994" y="49797"/>
                    <a:pt x="47994" y="52216"/>
                  </a:cubicBezTo>
                  <a:cubicBezTo>
                    <a:pt x="47994" y="52216"/>
                    <a:pt x="47994" y="52216"/>
                    <a:pt x="47994" y="52216"/>
                  </a:cubicBezTo>
                  <a:lnTo>
                    <a:pt x="47994" y="73852"/>
                  </a:lnTo>
                  <a:lnTo>
                    <a:pt x="34922" y="73852"/>
                  </a:lnTo>
                  <a:lnTo>
                    <a:pt x="34922" y="52223"/>
                  </a:lnTo>
                  <a:cubicBezTo>
                    <a:pt x="34922" y="49797"/>
                    <a:pt x="32953" y="47828"/>
                    <a:pt x="30518" y="47828"/>
                  </a:cubicBezTo>
                  <a:cubicBezTo>
                    <a:pt x="30518" y="47828"/>
                    <a:pt x="30518" y="47828"/>
                    <a:pt x="30518" y="47828"/>
                  </a:cubicBezTo>
                  <a:lnTo>
                    <a:pt x="8807" y="47828"/>
                  </a:lnTo>
                  <a:lnTo>
                    <a:pt x="8807" y="34801"/>
                  </a:lnTo>
                  <a:lnTo>
                    <a:pt x="30518" y="34801"/>
                  </a:lnTo>
                  <a:cubicBezTo>
                    <a:pt x="32945" y="34801"/>
                    <a:pt x="34922" y="32839"/>
                    <a:pt x="34922" y="30420"/>
                  </a:cubicBezTo>
                  <a:cubicBezTo>
                    <a:pt x="34922" y="30420"/>
                    <a:pt x="34922" y="30413"/>
                    <a:pt x="34922" y="30413"/>
                  </a:cubicBezTo>
                  <a:lnTo>
                    <a:pt x="34922" y="8783"/>
                  </a:lnTo>
                  <a:lnTo>
                    <a:pt x="47994" y="8783"/>
                  </a:lnTo>
                  <a:lnTo>
                    <a:pt x="47994" y="30413"/>
                  </a:lnTo>
                  <a:cubicBezTo>
                    <a:pt x="47994" y="32839"/>
                    <a:pt x="49963" y="34801"/>
                    <a:pt x="52397" y="34801"/>
                  </a:cubicBezTo>
                  <a:cubicBezTo>
                    <a:pt x="52397" y="34801"/>
                    <a:pt x="52397" y="34801"/>
                    <a:pt x="52397" y="34801"/>
                  </a:cubicBezTo>
                  <a:lnTo>
                    <a:pt x="74109" y="34801"/>
                  </a:lnTo>
                  <a:close/>
                </a:path>
              </a:pathLst>
            </a:custGeom>
            <a:grpFill/>
            <a:ln w="726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 28">
              <a:extLst>
                <a:ext uri="{FF2B5EF4-FFF2-40B4-BE49-F238E27FC236}">
                  <a16:creationId xmlns:a16="http://schemas.microsoft.com/office/drawing/2014/main" id="{27781A96-1E3D-DB4F-8E70-9FE3D6FBBEAE}"/>
                </a:ext>
              </a:extLst>
            </p:cNvPr>
            <p:cNvSpPr/>
            <p:nvPr/>
          </p:nvSpPr>
          <p:spPr>
            <a:xfrm>
              <a:off x="1486666" y="3380815"/>
              <a:ext cx="363979" cy="215419"/>
            </a:xfrm>
            <a:custGeom>
              <a:avLst/>
              <a:gdLst>
                <a:gd name="connsiteX0" fmla="*/ 349963 w 363979"/>
                <a:gd name="connsiteY0" fmla="*/ 149331 h 215419"/>
                <a:gd name="connsiteX1" fmla="*/ 349963 w 363979"/>
                <a:gd name="connsiteY1" fmla="*/ 113075 h 215419"/>
                <a:gd name="connsiteX2" fmla="*/ 345508 w 363979"/>
                <a:gd name="connsiteY2" fmla="*/ 97448 h 215419"/>
                <a:gd name="connsiteX3" fmla="*/ 302005 w 363979"/>
                <a:gd name="connsiteY3" fmla="*/ 27202 h 215419"/>
                <a:gd name="connsiteX4" fmla="*/ 280977 w 363979"/>
                <a:gd name="connsiteY4" fmla="*/ 15511 h 215419"/>
                <a:gd name="connsiteX5" fmla="*/ 242661 w 363979"/>
                <a:gd name="connsiteY5" fmla="*/ 15511 h 215419"/>
                <a:gd name="connsiteX6" fmla="*/ 242661 w 363979"/>
                <a:gd name="connsiteY6" fmla="*/ 4391 h 215419"/>
                <a:gd name="connsiteX7" fmla="*/ 238265 w 363979"/>
                <a:gd name="connsiteY7" fmla="*/ 0 h 215419"/>
                <a:gd name="connsiteX8" fmla="*/ 238258 w 363979"/>
                <a:gd name="connsiteY8" fmla="*/ 0 h 215419"/>
                <a:gd name="connsiteX9" fmla="*/ 209890 w 363979"/>
                <a:gd name="connsiteY9" fmla="*/ 0 h 215419"/>
                <a:gd name="connsiteX10" fmla="*/ 205487 w 363979"/>
                <a:gd name="connsiteY10" fmla="*/ 4388 h 215419"/>
                <a:gd name="connsiteX11" fmla="*/ 205487 w 363979"/>
                <a:gd name="connsiteY11" fmla="*/ 4391 h 215419"/>
                <a:gd name="connsiteX12" fmla="*/ 205487 w 363979"/>
                <a:gd name="connsiteY12" fmla="*/ 15511 h 215419"/>
                <a:gd name="connsiteX13" fmla="*/ 38735 w 363979"/>
                <a:gd name="connsiteY13" fmla="*/ 15511 h 215419"/>
                <a:gd name="connsiteX14" fmla="*/ 14018 w 363979"/>
                <a:gd name="connsiteY14" fmla="*/ 40135 h 215419"/>
                <a:gd name="connsiteX15" fmla="*/ 14018 w 363979"/>
                <a:gd name="connsiteY15" fmla="*/ 149331 h 215419"/>
                <a:gd name="connsiteX16" fmla="*/ 0 w 363979"/>
                <a:gd name="connsiteY16" fmla="*/ 167159 h 215419"/>
                <a:gd name="connsiteX17" fmla="*/ 0 w 363979"/>
                <a:gd name="connsiteY17" fmla="*/ 173307 h 215419"/>
                <a:gd name="connsiteX18" fmla="*/ 18425 w 363979"/>
                <a:gd name="connsiteY18" fmla="*/ 191670 h 215419"/>
                <a:gd name="connsiteX19" fmla="*/ 59544 w 363979"/>
                <a:gd name="connsiteY19" fmla="*/ 191670 h 215419"/>
                <a:gd name="connsiteX20" fmla="*/ 89110 w 363979"/>
                <a:gd name="connsiteY20" fmla="*/ 215255 h 215419"/>
                <a:gd name="connsiteX21" fmla="*/ 112784 w 363979"/>
                <a:gd name="connsiteY21" fmla="*/ 191670 h 215419"/>
                <a:gd name="connsiteX22" fmla="*/ 235199 w 363979"/>
                <a:gd name="connsiteY22" fmla="*/ 191670 h 215419"/>
                <a:gd name="connsiteX23" fmla="*/ 264765 w 363979"/>
                <a:gd name="connsiteY23" fmla="*/ 215255 h 215419"/>
                <a:gd name="connsiteX24" fmla="*/ 288439 w 363979"/>
                <a:gd name="connsiteY24" fmla="*/ 191670 h 215419"/>
                <a:gd name="connsiteX25" fmla="*/ 345552 w 363979"/>
                <a:gd name="connsiteY25" fmla="*/ 191670 h 215419"/>
                <a:gd name="connsiteX26" fmla="*/ 363979 w 363979"/>
                <a:gd name="connsiteY26" fmla="*/ 173307 h 215419"/>
                <a:gd name="connsiteX27" fmla="*/ 363979 w 363979"/>
                <a:gd name="connsiteY27" fmla="*/ 167159 h 215419"/>
                <a:gd name="connsiteX28" fmla="*/ 349963 w 363979"/>
                <a:gd name="connsiteY28" fmla="*/ 149331 h 215419"/>
                <a:gd name="connsiteX29" fmla="*/ 214294 w 363979"/>
                <a:gd name="connsiteY29" fmla="*/ 8783 h 215419"/>
                <a:gd name="connsiteX30" fmla="*/ 233855 w 363979"/>
                <a:gd name="connsiteY30" fmla="*/ 8783 h 215419"/>
                <a:gd name="connsiteX31" fmla="*/ 233855 w 363979"/>
                <a:gd name="connsiteY31" fmla="*/ 15511 h 215419"/>
                <a:gd name="connsiteX32" fmla="*/ 214294 w 363979"/>
                <a:gd name="connsiteY32" fmla="*/ 15511 h 215419"/>
                <a:gd name="connsiteX33" fmla="*/ 86160 w 363979"/>
                <a:gd name="connsiteY33" fmla="*/ 206638 h 215419"/>
                <a:gd name="connsiteX34" fmla="*/ 68045 w 363979"/>
                <a:gd name="connsiteY34" fmla="*/ 188578 h 215419"/>
                <a:gd name="connsiteX35" fmla="*/ 68074 w 363979"/>
                <a:gd name="connsiteY35" fmla="*/ 187948 h 215419"/>
                <a:gd name="connsiteX36" fmla="*/ 68103 w 363979"/>
                <a:gd name="connsiteY36" fmla="*/ 187528 h 215419"/>
                <a:gd name="connsiteX37" fmla="*/ 87185 w 363979"/>
                <a:gd name="connsiteY37" fmla="*/ 170548 h 215419"/>
                <a:gd name="connsiteX38" fmla="*/ 104224 w 363979"/>
                <a:gd name="connsiteY38" fmla="*/ 187528 h 215419"/>
                <a:gd name="connsiteX39" fmla="*/ 104253 w 363979"/>
                <a:gd name="connsiteY39" fmla="*/ 187948 h 215419"/>
                <a:gd name="connsiteX40" fmla="*/ 104282 w 363979"/>
                <a:gd name="connsiteY40" fmla="*/ 188578 h 215419"/>
                <a:gd name="connsiteX41" fmla="*/ 86160 w 363979"/>
                <a:gd name="connsiteY41" fmla="*/ 206638 h 215419"/>
                <a:gd name="connsiteX42" fmla="*/ 261815 w 363979"/>
                <a:gd name="connsiteY42" fmla="*/ 206638 h 215419"/>
                <a:gd name="connsiteX43" fmla="*/ 243693 w 363979"/>
                <a:gd name="connsiteY43" fmla="*/ 188578 h 215419"/>
                <a:gd name="connsiteX44" fmla="*/ 243730 w 363979"/>
                <a:gd name="connsiteY44" fmla="*/ 187934 h 215419"/>
                <a:gd name="connsiteX45" fmla="*/ 243751 w 363979"/>
                <a:gd name="connsiteY45" fmla="*/ 187528 h 215419"/>
                <a:gd name="connsiteX46" fmla="*/ 262840 w 363979"/>
                <a:gd name="connsiteY46" fmla="*/ 170548 h 215419"/>
                <a:gd name="connsiteX47" fmla="*/ 279879 w 363979"/>
                <a:gd name="connsiteY47" fmla="*/ 187528 h 215419"/>
                <a:gd name="connsiteX48" fmla="*/ 279879 w 363979"/>
                <a:gd name="connsiteY48" fmla="*/ 187528 h 215419"/>
                <a:gd name="connsiteX49" fmla="*/ 279901 w 363979"/>
                <a:gd name="connsiteY49" fmla="*/ 187934 h 215419"/>
                <a:gd name="connsiteX50" fmla="*/ 279937 w 363979"/>
                <a:gd name="connsiteY50" fmla="*/ 188578 h 215419"/>
                <a:gd name="connsiteX51" fmla="*/ 261815 w 363979"/>
                <a:gd name="connsiteY51" fmla="*/ 206638 h 215419"/>
                <a:gd name="connsiteX52" fmla="*/ 355165 w 363979"/>
                <a:gd name="connsiteY52" fmla="*/ 173307 h 215419"/>
                <a:gd name="connsiteX53" fmla="*/ 345552 w 363979"/>
                <a:gd name="connsiteY53" fmla="*/ 182887 h 215419"/>
                <a:gd name="connsiteX54" fmla="*/ 288112 w 363979"/>
                <a:gd name="connsiteY54" fmla="*/ 182887 h 215419"/>
                <a:gd name="connsiteX55" fmla="*/ 287945 w 363979"/>
                <a:gd name="connsiteY55" fmla="*/ 182344 h 215419"/>
                <a:gd name="connsiteX56" fmla="*/ 287385 w 363979"/>
                <a:gd name="connsiteY56" fmla="*/ 180526 h 215419"/>
                <a:gd name="connsiteX57" fmla="*/ 286375 w 363979"/>
                <a:gd name="connsiteY57" fmla="*/ 177745 h 215419"/>
                <a:gd name="connsiteX58" fmla="*/ 285482 w 363979"/>
                <a:gd name="connsiteY58" fmla="*/ 175993 h 215419"/>
                <a:gd name="connsiteX59" fmla="*/ 284036 w 363979"/>
                <a:gd name="connsiteY59" fmla="*/ 173567 h 215419"/>
                <a:gd name="connsiteX60" fmla="*/ 282851 w 363979"/>
                <a:gd name="connsiteY60" fmla="*/ 171974 h 215419"/>
                <a:gd name="connsiteX61" fmla="*/ 281006 w 363979"/>
                <a:gd name="connsiteY61" fmla="*/ 169882 h 215419"/>
                <a:gd name="connsiteX62" fmla="*/ 279581 w 363979"/>
                <a:gd name="connsiteY62" fmla="*/ 168513 h 215419"/>
                <a:gd name="connsiteX63" fmla="*/ 277365 w 363979"/>
                <a:gd name="connsiteY63" fmla="*/ 166782 h 215419"/>
                <a:gd name="connsiteX64" fmla="*/ 275752 w 363979"/>
                <a:gd name="connsiteY64" fmla="*/ 165689 h 215419"/>
                <a:gd name="connsiteX65" fmla="*/ 273158 w 363979"/>
                <a:gd name="connsiteY65" fmla="*/ 164342 h 215419"/>
                <a:gd name="connsiteX66" fmla="*/ 271458 w 363979"/>
                <a:gd name="connsiteY66" fmla="*/ 163560 h 215419"/>
                <a:gd name="connsiteX67" fmla="*/ 268340 w 363979"/>
                <a:gd name="connsiteY67" fmla="*/ 162633 h 215419"/>
                <a:gd name="connsiteX68" fmla="*/ 266793 w 363979"/>
                <a:gd name="connsiteY68" fmla="*/ 162220 h 215419"/>
                <a:gd name="connsiteX69" fmla="*/ 256845 w 363979"/>
                <a:gd name="connsiteY69" fmla="*/ 162220 h 215419"/>
                <a:gd name="connsiteX70" fmla="*/ 255290 w 363979"/>
                <a:gd name="connsiteY70" fmla="*/ 162633 h 215419"/>
                <a:gd name="connsiteX71" fmla="*/ 252173 w 363979"/>
                <a:gd name="connsiteY71" fmla="*/ 163560 h 215419"/>
                <a:gd name="connsiteX72" fmla="*/ 250465 w 363979"/>
                <a:gd name="connsiteY72" fmla="*/ 164349 h 215419"/>
                <a:gd name="connsiteX73" fmla="*/ 247879 w 363979"/>
                <a:gd name="connsiteY73" fmla="*/ 165689 h 215419"/>
                <a:gd name="connsiteX74" fmla="*/ 246258 w 363979"/>
                <a:gd name="connsiteY74" fmla="*/ 166790 h 215419"/>
                <a:gd name="connsiteX75" fmla="*/ 244056 w 363979"/>
                <a:gd name="connsiteY75" fmla="*/ 168513 h 215419"/>
                <a:gd name="connsiteX76" fmla="*/ 242618 w 363979"/>
                <a:gd name="connsiteY76" fmla="*/ 169896 h 215419"/>
                <a:gd name="connsiteX77" fmla="*/ 240794 w 363979"/>
                <a:gd name="connsiteY77" fmla="*/ 171960 h 215419"/>
                <a:gd name="connsiteX78" fmla="*/ 239595 w 363979"/>
                <a:gd name="connsiteY78" fmla="*/ 173575 h 215419"/>
                <a:gd name="connsiteX79" fmla="*/ 238156 w 363979"/>
                <a:gd name="connsiteY79" fmla="*/ 175979 h 215419"/>
                <a:gd name="connsiteX80" fmla="*/ 237255 w 363979"/>
                <a:gd name="connsiteY80" fmla="*/ 177753 h 215419"/>
                <a:gd name="connsiteX81" fmla="*/ 236260 w 363979"/>
                <a:gd name="connsiteY81" fmla="*/ 180504 h 215419"/>
                <a:gd name="connsiteX82" fmla="*/ 235686 w 363979"/>
                <a:gd name="connsiteY82" fmla="*/ 182351 h 215419"/>
                <a:gd name="connsiteX83" fmla="*/ 235519 w 363979"/>
                <a:gd name="connsiteY83" fmla="*/ 182887 h 215419"/>
                <a:gd name="connsiteX84" fmla="*/ 112457 w 363979"/>
                <a:gd name="connsiteY84" fmla="*/ 182887 h 215419"/>
                <a:gd name="connsiteX85" fmla="*/ 112290 w 363979"/>
                <a:gd name="connsiteY85" fmla="*/ 182351 h 215419"/>
                <a:gd name="connsiteX86" fmla="*/ 111723 w 363979"/>
                <a:gd name="connsiteY86" fmla="*/ 180504 h 215419"/>
                <a:gd name="connsiteX87" fmla="*/ 110727 w 363979"/>
                <a:gd name="connsiteY87" fmla="*/ 177753 h 215419"/>
                <a:gd name="connsiteX88" fmla="*/ 109819 w 363979"/>
                <a:gd name="connsiteY88" fmla="*/ 175971 h 215419"/>
                <a:gd name="connsiteX89" fmla="*/ 108388 w 363979"/>
                <a:gd name="connsiteY89" fmla="*/ 173575 h 215419"/>
                <a:gd name="connsiteX90" fmla="*/ 107189 w 363979"/>
                <a:gd name="connsiteY90" fmla="*/ 171960 h 215419"/>
                <a:gd name="connsiteX91" fmla="*/ 105365 w 363979"/>
                <a:gd name="connsiteY91" fmla="*/ 169896 h 215419"/>
                <a:gd name="connsiteX92" fmla="*/ 103919 w 363979"/>
                <a:gd name="connsiteY92" fmla="*/ 168506 h 215419"/>
                <a:gd name="connsiteX93" fmla="*/ 101724 w 363979"/>
                <a:gd name="connsiteY93" fmla="*/ 166797 h 215419"/>
                <a:gd name="connsiteX94" fmla="*/ 100097 w 363979"/>
                <a:gd name="connsiteY94" fmla="*/ 165682 h 215419"/>
                <a:gd name="connsiteX95" fmla="*/ 97517 w 363979"/>
                <a:gd name="connsiteY95" fmla="*/ 164349 h 215419"/>
                <a:gd name="connsiteX96" fmla="*/ 95802 w 363979"/>
                <a:gd name="connsiteY96" fmla="*/ 163560 h 215419"/>
                <a:gd name="connsiteX97" fmla="*/ 92692 w 363979"/>
                <a:gd name="connsiteY97" fmla="*/ 162633 h 215419"/>
                <a:gd name="connsiteX98" fmla="*/ 91137 w 363979"/>
                <a:gd name="connsiteY98" fmla="*/ 162220 h 215419"/>
                <a:gd name="connsiteX99" fmla="*/ 81190 w 363979"/>
                <a:gd name="connsiteY99" fmla="*/ 162220 h 215419"/>
                <a:gd name="connsiteX100" fmla="*/ 79635 w 363979"/>
                <a:gd name="connsiteY100" fmla="*/ 162633 h 215419"/>
                <a:gd name="connsiteX101" fmla="*/ 76518 w 363979"/>
                <a:gd name="connsiteY101" fmla="*/ 163560 h 215419"/>
                <a:gd name="connsiteX102" fmla="*/ 74817 w 363979"/>
                <a:gd name="connsiteY102" fmla="*/ 164342 h 215419"/>
                <a:gd name="connsiteX103" fmla="*/ 72223 w 363979"/>
                <a:gd name="connsiteY103" fmla="*/ 165689 h 215419"/>
                <a:gd name="connsiteX104" fmla="*/ 70610 w 363979"/>
                <a:gd name="connsiteY104" fmla="*/ 166790 h 215419"/>
                <a:gd name="connsiteX105" fmla="*/ 68401 w 363979"/>
                <a:gd name="connsiteY105" fmla="*/ 168513 h 215419"/>
                <a:gd name="connsiteX106" fmla="*/ 66974 w 363979"/>
                <a:gd name="connsiteY106" fmla="*/ 169889 h 215419"/>
                <a:gd name="connsiteX107" fmla="*/ 65131 w 363979"/>
                <a:gd name="connsiteY107" fmla="*/ 171974 h 215419"/>
                <a:gd name="connsiteX108" fmla="*/ 63946 w 363979"/>
                <a:gd name="connsiteY108" fmla="*/ 173567 h 215419"/>
                <a:gd name="connsiteX109" fmla="*/ 62500 w 363979"/>
                <a:gd name="connsiteY109" fmla="*/ 175993 h 215419"/>
                <a:gd name="connsiteX110" fmla="*/ 61606 w 363979"/>
                <a:gd name="connsiteY110" fmla="*/ 177745 h 215419"/>
                <a:gd name="connsiteX111" fmla="*/ 60597 w 363979"/>
                <a:gd name="connsiteY111" fmla="*/ 180526 h 215419"/>
                <a:gd name="connsiteX112" fmla="*/ 60034 w 363979"/>
                <a:gd name="connsiteY112" fmla="*/ 182344 h 215419"/>
                <a:gd name="connsiteX113" fmla="*/ 59867 w 363979"/>
                <a:gd name="connsiteY113" fmla="*/ 182887 h 215419"/>
                <a:gd name="connsiteX114" fmla="*/ 18425 w 363979"/>
                <a:gd name="connsiteY114" fmla="*/ 182887 h 215419"/>
                <a:gd name="connsiteX115" fmla="*/ 8812 w 363979"/>
                <a:gd name="connsiteY115" fmla="*/ 173307 h 215419"/>
                <a:gd name="connsiteX116" fmla="*/ 8812 w 363979"/>
                <a:gd name="connsiteY116" fmla="*/ 167159 h 215419"/>
                <a:gd name="connsiteX117" fmla="*/ 18425 w 363979"/>
                <a:gd name="connsiteY117" fmla="*/ 157586 h 215419"/>
                <a:gd name="connsiteX118" fmla="*/ 22831 w 363979"/>
                <a:gd name="connsiteY118" fmla="*/ 153191 h 215419"/>
                <a:gd name="connsiteX119" fmla="*/ 22831 w 363979"/>
                <a:gd name="connsiteY119" fmla="*/ 153191 h 215419"/>
                <a:gd name="connsiteX120" fmla="*/ 22831 w 363979"/>
                <a:gd name="connsiteY120" fmla="*/ 40135 h 215419"/>
                <a:gd name="connsiteX121" fmla="*/ 38735 w 363979"/>
                <a:gd name="connsiteY121" fmla="*/ 24291 h 215419"/>
                <a:gd name="connsiteX122" fmla="*/ 280977 w 363979"/>
                <a:gd name="connsiteY122" fmla="*/ 24291 h 215419"/>
                <a:gd name="connsiteX123" fmla="*/ 294506 w 363979"/>
                <a:gd name="connsiteY123" fmla="*/ 31815 h 215419"/>
                <a:gd name="connsiteX124" fmla="*/ 338017 w 363979"/>
                <a:gd name="connsiteY124" fmla="*/ 102061 h 215419"/>
                <a:gd name="connsiteX125" fmla="*/ 341149 w 363979"/>
                <a:gd name="connsiteY125" fmla="*/ 113075 h 215419"/>
                <a:gd name="connsiteX126" fmla="*/ 341149 w 363979"/>
                <a:gd name="connsiteY126" fmla="*/ 153191 h 215419"/>
                <a:gd name="connsiteX127" fmla="*/ 345552 w 363979"/>
                <a:gd name="connsiteY127" fmla="*/ 157586 h 215419"/>
                <a:gd name="connsiteX128" fmla="*/ 345552 w 363979"/>
                <a:gd name="connsiteY128" fmla="*/ 157586 h 215419"/>
                <a:gd name="connsiteX129" fmla="*/ 355165 w 363979"/>
                <a:gd name="connsiteY129" fmla="*/ 167159 h 215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363979" h="215419">
                  <a:moveTo>
                    <a:pt x="349963" y="149331"/>
                  </a:moveTo>
                  <a:lnTo>
                    <a:pt x="349963" y="113075"/>
                  </a:lnTo>
                  <a:cubicBezTo>
                    <a:pt x="349963" y="107550"/>
                    <a:pt x="348422" y="102141"/>
                    <a:pt x="345508" y="97448"/>
                  </a:cubicBezTo>
                  <a:lnTo>
                    <a:pt x="302005" y="27202"/>
                  </a:lnTo>
                  <a:cubicBezTo>
                    <a:pt x="297529" y="19910"/>
                    <a:pt x="289551" y="15480"/>
                    <a:pt x="280977" y="15511"/>
                  </a:cubicBezTo>
                  <a:lnTo>
                    <a:pt x="242661" y="15511"/>
                  </a:lnTo>
                  <a:lnTo>
                    <a:pt x="242661" y="4391"/>
                  </a:lnTo>
                  <a:cubicBezTo>
                    <a:pt x="242661" y="1967"/>
                    <a:pt x="240692" y="1"/>
                    <a:pt x="238265" y="0"/>
                  </a:cubicBezTo>
                  <a:cubicBezTo>
                    <a:pt x="238258" y="0"/>
                    <a:pt x="238258" y="0"/>
                    <a:pt x="238258" y="0"/>
                  </a:cubicBezTo>
                  <a:lnTo>
                    <a:pt x="209890" y="0"/>
                  </a:lnTo>
                  <a:cubicBezTo>
                    <a:pt x="207456" y="-1"/>
                    <a:pt x="205487" y="1964"/>
                    <a:pt x="205487" y="4388"/>
                  </a:cubicBezTo>
                  <a:cubicBezTo>
                    <a:pt x="205487" y="4390"/>
                    <a:pt x="205487" y="4390"/>
                    <a:pt x="205487" y="4391"/>
                  </a:cubicBezTo>
                  <a:lnTo>
                    <a:pt x="205487" y="15511"/>
                  </a:lnTo>
                  <a:lnTo>
                    <a:pt x="38735" y="15511"/>
                  </a:lnTo>
                  <a:cubicBezTo>
                    <a:pt x="25092" y="15524"/>
                    <a:pt x="14034" y="26543"/>
                    <a:pt x="14018" y="40135"/>
                  </a:cubicBezTo>
                  <a:lnTo>
                    <a:pt x="14018" y="149331"/>
                  </a:lnTo>
                  <a:cubicBezTo>
                    <a:pt x="5792" y="151359"/>
                    <a:pt x="11" y="158716"/>
                    <a:pt x="0" y="167159"/>
                  </a:cubicBezTo>
                  <a:lnTo>
                    <a:pt x="0" y="173307"/>
                  </a:lnTo>
                  <a:cubicBezTo>
                    <a:pt x="11" y="183444"/>
                    <a:pt x="8254" y="191656"/>
                    <a:pt x="18425" y="191670"/>
                  </a:cubicBezTo>
                  <a:lnTo>
                    <a:pt x="59544" y="191670"/>
                  </a:lnTo>
                  <a:cubicBezTo>
                    <a:pt x="61173" y="206319"/>
                    <a:pt x="74410" y="216877"/>
                    <a:pt x="89110" y="215255"/>
                  </a:cubicBezTo>
                  <a:cubicBezTo>
                    <a:pt x="101572" y="213879"/>
                    <a:pt x="111403" y="204081"/>
                    <a:pt x="112784" y="191670"/>
                  </a:cubicBezTo>
                  <a:lnTo>
                    <a:pt x="235199" y="191670"/>
                  </a:lnTo>
                  <a:cubicBezTo>
                    <a:pt x="236827" y="206319"/>
                    <a:pt x="250066" y="216877"/>
                    <a:pt x="264765" y="215255"/>
                  </a:cubicBezTo>
                  <a:cubicBezTo>
                    <a:pt x="277220" y="213879"/>
                    <a:pt x="287058" y="204081"/>
                    <a:pt x="288439" y="191670"/>
                  </a:cubicBezTo>
                  <a:lnTo>
                    <a:pt x="345552" y="191670"/>
                  </a:lnTo>
                  <a:cubicBezTo>
                    <a:pt x="355725" y="191656"/>
                    <a:pt x="363972" y="183444"/>
                    <a:pt x="363979" y="173307"/>
                  </a:cubicBezTo>
                  <a:lnTo>
                    <a:pt x="363979" y="167159"/>
                  </a:lnTo>
                  <a:cubicBezTo>
                    <a:pt x="363972" y="158716"/>
                    <a:pt x="358188" y="151359"/>
                    <a:pt x="349963" y="149331"/>
                  </a:cubicBezTo>
                  <a:close/>
                  <a:moveTo>
                    <a:pt x="214294" y="8783"/>
                  </a:moveTo>
                  <a:lnTo>
                    <a:pt x="233855" y="8783"/>
                  </a:lnTo>
                  <a:lnTo>
                    <a:pt x="233855" y="15511"/>
                  </a:lnTo>
                  <a:lnTo>
                    <a:pt x="214294" y="15511"/>
                  </a:lnTo>
                  <a:close/>
                  <a:moveTo>
                    <a:pt x="86160" y="206638"/>
                  </a:moveTo>
                  <a:cubicBezTo>
                    <a:pt x="76162" y="206623"/>
                    <a:pt x="68052" y="198542"/>
                    <a:pt x="68045" y="188578"/>
                  </a:cubicBezTo>
                  <a:cubicBezTo>
                    <a:pt x="68045" y="188368"/>
                    <a:pt x="68060" y="188151"/>
                    <a:pt x="68074" y="187948"/>
                  </a:cubicBezTo>
                  <a:lnTo>
                    <a:pt x="68103" y="187528"/>
                  </a:lnTo>
                  <a:cubicBezTo>
                    <a:pt x="68663" y="177593"/>
                    <a:pt x="77208" y="169990"/>
                    <a:pt x="87185" y="170548"/>
                  </a:cubicBezTo>
                  <a:cubicBezTo>
                    <a:pt x="96369" y="171069"/>
                    <a:pt x="103708" y="178375"/>
                    <a:pt x="104224" y="187528"/>
                  </a:cubicBezTo>
                  <a:lnTo>
                    <a:pt x="104253" y="187948"/>
                  </a:lnTo>
                  <a:cubicBezTo>
                    <a:pt x="104268" y="188151"/>
                    <a:pt x="104282" y="188368"/>
                    <a:pt x="104282" y="188578"/>
                  </a:cubicBezTo>
                  <a:cubicBezTo>
                    <a:pt x="104275" y="198542"/>
                    <a:pt x="96166" y="206623"/>
                    <a:pt x="86160" y="206638"/>
                  </a:cubicBezTo>
                  <a:close/>
                  <a:moveTo>
                    <a:pt x="261815" y="206638"/>
                  </a:moveTo>
                  <a:cubicBezTo>
                    <a:pt x="251817" y="206623"/>
                    <a:pt x="243708" y="198542"/>
                    <a:pt x="243693" y="188578"/>
                  </a:cubicBezTo>
                  <a:cubicBezTo>
                    <a:pt x="243693" y="188361"/>
                    <a:pt x="243715" y="188151"/>
                    <a:pt x="243730" y="187934"/>
                  </a:cubicBezTo>
                  <a:lnTo>
                    <a:pt x="243751" y="187528"/>
                  </a:lnTo>
                  <a:cubicBezTo>
                    <a:pt x="244318" y="177593"/>
                    <a:pt x="252863" y="169990"/>
                    <a:pt x="262840" y="170548"/>
                  </a:cubicBezTo>
                  <a:cubicBezTo>
                    <a:pt x="272025" y="171069"/>
                    <a:pt x="279356" y="178375"/>
                    <a:pt x="279879" y="187528"/>
                  </a:cubicBezTo>
                  <a:lnTo>
                    <a:pt x="279879" y="187528"/>
                  </a:lnTo>
                  <a:lnTo>
                    <a:pt x="279901" y="187934"/>
                  </a:lnTo>
                  <a:cubicBezTo>
                    <a:pt x="279916" y="188151"/>
                    <a:pt x="279937" y="188361"/>
                    <a:pt x="279937" y="188578"/>
                  </a:cubicBezTo>
                  <a:cubicBezTo>
                    <a:pt x="279923" y="198549"/>
                    <a:pt x="271821" y="206623"/>
                    <a:pt x="261815" y="206638"/>
                  </a:cubicBezTo>
                  <a:close/>
                  <a:moveTo>
                    <a:pt x="355165" y="173307"/>
                  </a:moveTo>
                  <a:cubicBezTo>
                    <a:pt x="355165" y="178593"/>
                    <a:pt x="350864" y="182879"/>
                    <a:pt x="345552" y="182887"/>
                  </a:cubicBezTo>
                  <a:lnTo>
                    <a:pt x="288112" y="182887"/>
                  </a:lnTo>
                  <a:cubicBezTo>
                    <a:pt x="288076" y="182698"/>
                    <a:pt x="287988" y="182525"/>
                    <a:pt x="287945" y="182344"/>
                  </a:cubicBezTo>
                  <a:cubicBezTo>
                    <a:pt x="287792" y="181721"/>
                    <a:pt x="287574" y="181127"/>
                    <a:pt x="287385" y="180526"/>
                  </a:cubicBezTo>
                  <a:cubicBezTo>
                    <a:pt x="287095" y="179577"/>
                    <a:pt x="286761" y="178651"/>
                    <a:pt x="286375" y="177745"/>
                  </a:cubicBezTo>
                  <a:cubicBezTo>
                    <a:pt x="286106" y="177137"/>
                    <a:pt x="285787" y="176572"/>
                    <a:pt x="285482" y="175993"/>
                  </a:cubicBezTo>
                  <a:cubicBezTo>
                    <a:pt x="285038" y="175160"/>
                    <a:pt x="284559" y="174349"/>
                    <a:pt x="284036" y="173567"/>
                  </a:cubicBezTo>
                  <a:cubicBezTo>
                    <a:pt x="283658" y="173010"/>
                    <a:pt x="283258" y="172488"/>
                    <a:pt x="282851" y="171974"/>
                  </a:cubicBezTo>
                  <a:cubicBezTo>
                    <a:pt x="282270" y="171243"/>
                    <a:pt x="281652" y="170548"/>
                    <a:pt x="281006" y="169882"/>
                  </a:cubicBezTo>
                  <a:cubicBezTo>
                    <a:pt x="280541" y="169411"/>
                    <a:pt x="280076" y="168955"/>
                    <a:pt x="279581" y="168513"/>
                  </a:cubicBezTo>
                  <a:cubicBezTo>
                    <a:pt x="278869" y="167897"/>
                    <a:pt x="278128" y="167325"/>
                    <a:pt x="277365" y="166782"/>
                  </a:cubicBezTo>
                  <a:cubicBezTo>
                    <a:pt x="276827" y="166406"/>
                    <a:pt x="276312" y="166029"/>
                    <a:pt x="275752" y="165689"/>
                  </a:cubicBezTo>
                  <a:cubicBezTo>
                    <a:pt x="274916" y="165189"/>
                    <a:pt x="274052" y="164740"/>
                    <a:pt x="273158" y="164342"/>
                  </a:cubicBezTo>
                  <a:cubicBezTo>
                    <a:pt x="272591" y="164074"/>
                    <a:pt x="272046" y="163784"/>
                    <a:pt x="271458" y="163560"/>
                  </a:cubicBezTo>
                  <a:cubicBezTo>
                    <a:pt x="270440" y="163191"/>
                    <a:pt x="269394" y="162879"/>
                    <a:pt x="268340" y="162633"/>
                  </a:cubicBezTo>
                  <a:cubicBezTo>
                    <a:pt x="267817" y="162503"/>
                    <a:pt x="267323" y="162322"/>
                    <a:pt x="266793" y="162220"/>
                  </a:cubicBezTo>
                  <a:cubicBezTo>
                    <a:pt x="263508" y="161576"/>
                    <a:pt x="260130" y="161576"/>
                    <a:pt x="256845" y="162220"/>
                  </a:cubicBezTo>
                  <a:cubicBezTo>
                    <a:pt x="256307" y="162322"/>
                    <a:pt x="255813" y="162503"/>
                    <a:pt x="255290" y="162633"/>
                  </a:cubicBezTo>
                  <a:cubicBezTo>
                    <a:pt x="254229" y="162879"/>
                    <a:pt x="253190" y="163191"/>
                    <a:pt x="252173" y="163560"/>
                  </a:cubicBezTo>
                  <a:cubicBezTo>
                    <a:pt x="251584" y="163784"/>
                    <a:pt x="251032" y="164081"/>
                    <a:pt x="250465" y="164349"/>
                  </a:cubicBezTo>
                  <a:cubicBezTo>
                    <a:pt x="249579" y="164748"/>
                    <a:pt x="248714" y="165189"/>
                    <a:pt x="247879" y="165689"/>
                  </a:cubicBezTo>
                  <a:cubicBezTo>
                    <a:pt x="247319" y="166029"/>
                    <a:pt x="246796" y="166413"/>
                    <a:pt x="246258" y="166790"/>
                  </a:cubicBezTo>
                  <a:cubicBezTo>
                    <a:pt x="245495" y="167325"/>
                    <a:pt x="244761" y="167897"/>
                    <a:pt x="244056" y="168513"/>
                  </a:cubicBezTo>
                  <a:cubicBezTo>
                    <a:pt x="243555" y="168955"/>
                    <a:pt x="243083" y="169411"/>
                    <a:pt x="242618" y="169896"/>
                  </a:cubicBezTo>
                  <a:cubicBezTo>
                    <a:pt x="241971" y="170548"/>
                    <a:pt x="241361" y="171243"/>
                    <a:pt x="240794" y="171960"/>
                  </a:cubicBezTo>
                  <a:cubicBezTo>
                    <a:pt x="240373" y="172488"/>
                    <a:pt x="239973" y="173017"/>
                    <a:pt x="239595" y="173575"/>
                  </a:cubicBezTo>
                  <a:cubicBezTo>
                    <a:pt x="239072" y="174349"/>
                    <a:pt x="238592" y="175146"/>
                    <a:pt x="238156" y="175979"/>
                  </a:cubicBezTo>
                  <a:cubicBezTo>
                    <a:pt x="237844" y="176565"/>
                    <a:pt x="237524" y="177137"/>
                    <a:pt x="237255" y="177753"/>
                  </a:cubicBezTo>
                  <a:cubicBezTo>
                    <a:pt x="236870" y="178651"/>
                    <a:pt x="236543" y="179563"/>
                    <a:pt x="236260" y="180504"/>
                  </a:cubicBezTo>
                  <a:cubicBezTo>
                    <a:pt x="236064" y="181120"/>
                    <a:pt x="235838" y="181714"/>
                    <a:pt x="235686" y="182351"/>
                  </a:cubicBezTo>
                  <a:cubicBezTo>
                    <a:pt x="235642" y="182532"/>
                    <a:pt x="235562" y="182698"/>
                    <a:pt x="235519" y="182887"/>
                  </a:cubicBezTo>
                  <a:lnTo>
                    <a:pt x="112457" y="182887"/>
                  </a:lnTo>
                  <a:cubicBezTo>
                    <a:pt x="112420" y="182698"/>
                    <a:pt x="112333" y="182532"/>
                    <a:pt x="112290" y="182351"/>
                  </a:cubicBezTo>
                  <a:cubicBezTo>
                    <a:pt x="112144" y="181714"/>
                    <a:pt x="111919" y="181113"/>
                    <a:pt x="111723" y="180504"/>
                  </a:cubicBezTo>
                  <a:cubicBezTo>
                    <a:pt x="111439" y="179563"/>
                    <a:pt x="111105" y="178651"/>
                    <a:pt x="110727" y="177753"/>
                  </a:cubicBezTo>
                  <a:cubicBezTo>
                    <a:pt x="110451" y="177137"/>
                    <a:pt x="110132" y="176565"/>
                    <a:pt x="109819" y="175971"/>
                  </a:cubicBezTo>
                  <a:cubicBezTo>
                    <a:pt x="109383" y="175146"/>
                    <a:pt x="108904" y="174349"/>
                    <a:pt x="108388" y="173575"/>
                  </a:cubicBezTo>
                  <a:cubicBezTo>
                    <a:pt x="108010" y="173017"/>
                    <a:pt x="107603" y="172488"/>
                    <a:pt x="107189" y="171960"/>
                  </a:cubicBezTo>
                  <a:cubicBezTo>
                    <a:pt x="106615" y="171236"/>
                    <a:pt x="106004" y="170555"/>
                    <a:pt x="105365" y="169896"/>
                  </a:cubicBezTo>
                  <a:cubicBezTo>
                    <a:pt x="104893" y="169418"/>
                    <a:pt x="104420" y="168955"/>
                    <a:pt x="103919" y="168506"/>
                  </a:cubicBezTo>
                  <a:cubicBezTo>
                    <a:pt x="103214" y="167897"/>
                    <a:pt x="102487" y="167325"/>
                    <a:pt x="101724" y="166797"/>
                  </a:cubicBezTo>
                  <a:cubicBezTo>
                    <a:pt x="101187" y="166413"/>
                    <a:pt x="100664" y="166029"/>
                    <a:pt x="100097" y="165682"/>
                  </a:cubicBezTo>
                  <a:cubicBezTo>
                    <a:pt x="99261" y="165189"/>
                    <a:pt x="98404" y="164748"/>
                    <a:pt x="97517" y="164349"/>
                  </a:cubicBezTo>
                  <a:cubicBezTo>
                    <a:pt x="96951" y="164081"/>
                    <a:pt x="96398" y="163784"/>
                    <a:pt x="95802" y="163560"/>
                  </a:cubicBezTo>
                  <a:cubicBezTo>
                    <a:pt x="94785" y="163191"/>
                    <a:pt x="93746" y="162879"/>
                    <a:pt x="92692" y="162633"/>
                  </a:cubicBezTo>
                  <a:cubicBezTo>
                    <a:pt x="92169" y="162503"/>
                    <a:pt x="91675" y="162322"/>
                    <a:pt x="91137" y="162220"/>
                  </a:cubicBezTo>
                  <a:cubicBezTo>
                    <a:pt x="87853" y="161576"/>
                    <a:pt x="84474" y="161576"/>
                    <a:pt x="81190" y="162220"/>
                  </a:cubicBezTo>
                  <a:cubicBezTo>
                    <a:pt x="80659" y="162322"/>
                    <a:pt x="80158" y="162503"/>
                    <a:pt x="79635" y="162633"/>
                  </a:cubicBezTo>
                  <a:cubicBezTo>
                    <a:pt x="78581" y="162879"/>
                    <a:pt x="77535" y="163191"/>
                    <a:pt x="76518" y="163560"/>
                  </a:cubicBezTo>
                  <a:cubicBezTo>
                    <a:pt x="75929" y="163784"/>
                    <a:pt x="75384" y="164074"/>
                    <a:pt x="74817" y="164342"/>
                  </a:cubicBezTo>
                  <a:cubicBezTo>
                    <a:pt x="73931" y="164740"/>
                    <a:pt x="73066" y="165189"/>
                    <a:pt x="72223" y="165689"/>
                  </a:cubicBezTo>
                  <a:cubicBezTo>
                    <a:pt x="71664" y="166029"/>
                    <a:pt x="71148" y="166406"/>
                    <a:pt x="70610" y="166790"/>
                  </a:cubicBezTo>
                  <a:cubicBezTo>
                    <a:pt x="69847" y="167325"/>
                    <a:pt x="69106" y="167905"/>
                    <a:pt x="68401" y="168513"/>
                  </a:cubicBezTo>
                  <a:cubicBezTo>
                    <a:pt x="67903" y="168955"/>
                    <a:pt x="67437" y="169411"/>
                    <a:pt x="66974" y="169889"/>
                  </a:cubicBezTo>
                  <a:cubicBezTo>
                    <a:pt x="66324" y="170548"/>
                    <a:pt x="65708" y="171243"/>
                    <a:pt x="65131" y="171974"/>
                  </a:cubicBezTo>
                  <a:cubicBezTo>
                    <a:pt x="64717" y="172496"/>
                    <a:pt x="64320" y="173017"/>
                    <a:pt x="63946" y="173567"/>
                  </a:cubicBezTo>
                  <a:cubicBezTo>
                    <a:pt x="63421" y="174349"/>
                    <a:pt x="62938" y="175153"/>
                    <a:pt x="62500" y="175993"/>
                  </a:cubicBezTo>
                  <a:cubicBezTo>
                    <a:pt x="62187" y="176572"/>
                    <a:pt x="61875" y="177137"/>
                    <a:pt x="61606" y="177745"/>
                  </a:cubicBezTo>
                  <a:cubicBezTo>
                    <a:pt x="61219" y="178651"/>
                    <a:pt x="60881" y="179577"/>
                    <a:pt x="60597" y="180526"/>
                  </a:cubicBezTo>
                  <a:cubicBezTo>
                    <a:pt x="60405" y="181134"/>
                    <a:pt x="60183" y="181721"/>
                    <a:pt x="60034" y="182344"/>
                  </a:cubicBezTo>
                  <a:cubicBezTo>
                    <a:pt x="59990" y="182532"/>
                    <a:pt x="59906" y="182698"/>
                    <a:pt x="59867" y="182887"/>
                  </a:cubicBezTo>
                  <a:lnTo>
                    <a:pt x="18425" y="182887"/>
                  </a:lnTo>
                  <a:cubicBezTo>
                    <a:pt x="13118" y="182879"/>
                    <a:pt x="8818" y="178593"/>
                    <a:pt x="8812" y="173307"/>
                  </a:cubicBezTo>
                  <a:lnTo>
                    <a:pt x="8812" y="167159"/>
                  </a:lnTo>
                  <a:cubicBezTo>
                    <a:pt x="8818" y="161873"/>
                    <a:pt x="13119" y="157586"/>
                    <a:pt x="18425" y="157586"/>
                  </a:cubicBezTo>
                  <a:cubicBezTo>
                    <a:pt x="20859" y="157586"/>
                    <a:pt x="22831" y="155616"/>
                    <a:pt x="22831" y="153191"/>
                  </a:cubicBezTo>
                  <a:cubicBezTo>
                    <a:pt x="22831" y="153191"/>
                    <a:pt x="22831" y="153191"/>
                    <a:pt x="22831" y="153191"/>
                  </a:cubicBezTo>
                  <a:lnTo>
                    <a:pt x="22831" y="40135"/>
                  </a:lnTo>
                  <a:cubicBezTo>
                    <a:pt x="22842" y="31387"/>
                    <a:pt x="29957" y="24298"/>
                    <a:pt x="38735" y="24291"/>
                  </a:cubicBezTo>
                  <a:lnTo>
                    <a:pt x="280977" y="24291"/>
                  </a:lnTo>
                  <a:cubicBezTo>
                    <a:pt x="286499" y="24277"/>
                    <a:pt x="291622" y="27122"/>
                    <a:pt x="294506" y="31815"/>
                  </a:cubicBezTo>
                  <a:lnTo>
                    <a:pt x="338017" y="102061"/>
                  </a:lnTo>
                  <a:cubicBezTo>
                    <a:pt x="340066" y="105370"/>
                    <a:pt x="341149" y="109179"/>
                    <a:pt x="341149" y="113075"/>
                  </a:cubicBezTo>
                  <a:lnTo>
                    <a:pt x="341149" y="153191"/>
                  </a:lnTo>
                  <a:cubicBezTo>
                    <a:pt x="341149" y="155616"/>
                    <a:pt x="343118" y="157586"/>
                    <a:pt x="345552" y="157586"/>
                  </a:cubicBezTo>
                  <a:cubicBezTo>
                    <a:pt x="345552" y="157586"/>
                    <a:pt x="345552" y="157586"/>
                    <a:pt x="345552" y="157586"/>
                  </a:cubicBezTo>
                  <a:cubicBezTo>
                    <a:pt x="350864" y="157586"/>
                    <a:pt x="355158" y="161873"/>
                    <a:pt x="355165" y="167159"/>
                  </a:cubicBezTo>
                  <a:close/>
                </a:path>
              </a:pathLst>
            </a:custGeom>
            <a:grpFill/>
            <a:ln w="726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 29">
              <a:extLst>
                <a:ext uri="{FF2B5EF4-FFF2-40B4-BE49-F238E27FC236}">
                  <a16:creationId xmlns:a16="http://schemas.microsoft.com/office/drawing/2014/main" id="{BAE75FD3-A1DC-6048-9540-F79F937F1557}"/>
                </a:ext>
              </a:extLst>
            </p:cNvPr>
            <p:cNvSpPr/>
            <p:nvPr/>
          </p:nvSpPr>
          <p:spPr>
            <a:xfrm>
              <a:off x="1736804" y="3420833"/>
              <a:ext cx="68404" cy="68160"/>
            </a:xfrm>
            <a:custGeom>
              <a:avLst/>
              <a:gdLst>
                <a:gd name="connsiteX0" fmla="*/ 30090 w 68404"/>
                <a:gd name="connsiteY0" fmla="*/ 2042 h 68160"/>
                <a:gd name="connsiteX1" fmla="*/ 26362 w 68404"/>
                <a:gd name="connsiteY1" fmla="*/ 0 h 68160"/>
                <a:gd name="connsiteX2" fmla="*/ 4411 w 68404"/>
                <a:gd name="connsiteY2" fmla="*/ 0 h 68160"/>
                <a:gd name="connsiteX3" fmla="*/ 0 w 68404"/>
                <a:gd name="connsiteY3" fmla="*/ 4388 h 68160"/>
                <a:gd name="connsiteX4" fmla="*/ 0 w 68404"/>
                <a:gd name="connsiteY4" fmla="*/ 4388 h 68160"/>
                <a:gd name="connsiteX5" fmla="*/ 0 w 68404"/>
                <a:gd name="connsiteY5" fmla="*/ 63773 h 68160"/>
                <a:gd name="connsiteX6" fmla="*/ 4411 w 68404"/>
                <a:gd name="connsiteY6" fmla="*/ 68161 h 68160"/>
                <a:gd name="connsiteX7" fmla="*/ 64001 w 68404"/>
                <a:gd name="connsiteY7" fmla="*/ 68161 h 68160"/>
                <a:gd name="connsiteX8" fmla="*/ 68405 w 68404"/>
                <a:gd name="connsiteY8" fmla="*/ 63780 h 68160"/>
                <a:gd name="connsiteX9" fmla="*/ 67722 w 68404"/>
                <a:gd name="connsiteY9" fmla="*/ 61427 h 68160"/>
                <a:gd name="connsiteX10" fmla="*/ 8814 w 68404"/>
                <a:gd name="connsiteY10" fmla="*/ 59377 h 68160"/>
                <a:gd name="connsiteX11" fmla="*/ 8814 w 68404"/>
                <a:gd name="connsiteY11" fmla="*/ 8783 h 68160"/>
                <a:gd name="connsiteX12" fmla="*/ 23935 w 68404"/>
                <a:gd name="connsiteY12" fmla="*/ 8783 h 68160"/>
                <a:gd name="connsiteX13" fmla="*/ 56009 w 68404"/>
                <a:gd name="connsiteY13" fmla="*/ 59377 h 68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8404" h="68160">
                  <a:moveTo>
                    <a:pt x="30090" y="2042"/>
                  </a:moveTo>
                  <a:cubicBezTo>
                    <a:pt x="29283" y="775"/>
                    <a:pt x="27873" y="0"/>
                    <a:pt x="26362" y="0"/>
                  </a:cubicBezTo>
                  <a:lnTo>
                    <a:pt x="4411" y="0"/>
                  </a:lnTo>
                  <a:cubicBezTo>
                    <a:pt x="1976" y="0"/>
                    <a:pt x="7" y="1962"/>
                    <a:pt x="0" y="4388"/>
                  </a:cubicBezTo>
                  <a:cubicBezTo>
                    <a:pt x="0" y="4388"/>
                    <a:pt x="0" y="4388"/>
                    <a:pt x="0" y="4388"/>
                  </a:cubicBezTo>
                  <a:lnTo>
                    <a:pt x="0" y="63773"/>
                  </a:lnTo>
                  <a:cubicBezTo>
                    <a:pt x="0" y="66199"/>
                    <a:pt x="1976" y="68161"/>
                    <a:pt x="4411" y="68161"/>
                  </a:cubicBezTo>
                  <a:lnTo>
                    <a:pt x="64001" y="68161"/>
                  </a:lnTo>
                  <a:cubicBezTo>
                    <a:pt x="66436" y="68168"/>
                    <a:pt x="68405" y="66199"/>
                    <a:pt x="68405" y="63780"/>
                  </a:cubicBezTo>
                  <a:cubicBezTo>
                    <a:pt x="68405" y="62947"/>
                    <a:pt x="68172" y="62129"/>
                    <a:pt x="67722" y="61427"/>
                  </a:cubicBezTo>
                  <a:close/>
                  <a:moveTo>
                    <a:pt x="8814" y="59377"/>
                  </a:moveTo>
                  <a:lnTo>
                    <a:pt x="8814" y="8783"/>
                  </a:lnTo>
                  <a:lnTo>
                    <a:pt x="23935" y="8783"/>
                  </a:lnTo>
                  <a:lnTo>
                    <a:pt x="56009" y="59377"/>
                  </a:lnTo>
                  <a:close/>
                </a:path>
              </a:pathLst>
            </a:custGeom>
            <a:grpFill/>
            <a:ln w="726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9" name="ZoneTexte 48"/>
          <p:cNvSpPr txBox="1"/>
          <p:nvPr/>
        </p:nvSpPr>
        <p:spPr>
          <a:xfrm>
            <a:off x="874713" y="2000032"/>
            <a:ext cx="11033302" cy="1041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>
                <a:latin typeface="Arial" pitchFamily="34" charset="0"/>
              </a:rPr>
              <a:t>Je participe à </a:t>
            </a:r>
            <a:r>
              <a:rPr lang="fr-FR" sz="1500" b="1" dirty="0">
                <a:latin typeface="Arial" pitchFamily="34" charset="0"/>
              </a:rPr>
              <a:t>diffuser l’information sur les obligations réglementaires d’installation, de maintenance, de signalétique ainsi que de déclaration du </a:t>
            </a:r>
            <a:r>
              <a:rPr lang="fr-FR" sz="1500" b="1" dirty="0" smtClean="0">
                <a:latin typeface="Arial" pitchFamily="34" charset="0"/>
              </a:rPr>
              <a:t>DAE </a:t>
            </a:r>
            <a:r>
              <a:rPr lang="fr-FR" sz="1500" dirty="0" smtClean="0">
                <a:latin typeface="Arial" pitchFamily="34" charset="0"/>
              </a:rPr>
              <a:t>;</a:t>
            </a:r>
            <a:r>
              <a:rPr lang="fr-FR" sz="1500" b="1" dirty="0" smtClean="0">
                <a:latin typeface="Arial" pitchFamily="34" charset="0"/>
              </a:rPr>
              <a:t> </a:t>
            </a:r>
            <a:endParaRPr lang="fr-FR" sz="1500" dirty="0">
              <a:latin typeface="Arial" pitchFamily="34" charset="0"/>
            </a:endParaRPr>
          </a:p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>
                <a:latin typeface="Arial" pitchFamily="34" charset="0"/>
              </a:rPr>
              <a:t>Je m’engage à </a:t>
            </a:r>
            <a:r>
              <a:rPr lang="fr-FR" sz="1500" b="1" dirty="0">
                <a:latin typeface="Arial" pitchFamily="34" charset="0"/>
              </a:rPr>
              <a:t>relayer les messages du Ministère de la Santé et de la Prévention</a:t>
            </a:r>
            <a:r>
              <a:rPr lang="fr-FR" sz="1500" dirty="0">
                <a:latin typeface="Arial" pitchFamily="34" charset="0"/>
              </a:rPr>
              <a:t> portant sur la promotion de l’usage du DAE ou sur l’importance de recenser ces derniers. </a:t>
            </a:r>
          </a:p>
        </p:txBody>
      </p:sp>
    </p:spTree>
    <p:extLst>
      <p:ext uri="{BB962C8B-B14F-4D97-AF65-F5344CB8AC3E}">
        <p14:creationId xmlns:p14="http://schemas.microsoft.com/office/powerpoint/2010/main" val="3403384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7"/>
          <p:cNvSpPr txBox="1">
            <a:spLocks/>
          </p:cNvSpPr>
          <p:nvPr/>
        </p:nvSpPr>
        <p:spPr>
          <a:xfrm>
            <a:off x="4544703" y="1135561"/>
            <a:ext cx="7483522" cy="396000"/>
          </a:xfrm>
          <a:prstGeom prst="rect">
            <a:avLst/>
          </a:prstGeom>
          <a:solidFill>
            <a:srgbClr val="1F497D"/>
          </a:solidFill>
        </p:spPr>
        <p:txBody>
          <a:bodyPr/>
          <a:lstStyle>
            <a:lvl1pPr marL="380990" indent="-380990" algn="l" defTabSz="1219170" rtl="0" eaLnBrk="1" latinLnBrk="0" hangingPunct="1">
              <a:spcBef>
                <a:spcPct val="2000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lang="fr-FR" sz="2300" b="1" i="0" u="none" strike="noStrike" kern="1200" baseline="0" dirty="0" smtClean="0">
                <a:solidFill>
                  <a:srgbClr val="3C4693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None/>
              <a:defRPr lang="fr-FR" sz="2000" b="1" kern="1200" dirty="0" smtClean="0">
                <a:solidFill>
                  <a:srgbClr val="C8D223"/>
                </a:solidFill>
                <a:latin typeface="+mj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943" indent="-457189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261938" algn="ctr">
              <a:buNone/>
            </a:pPr>
            <a:r>
              <a:rPr lang="fr-FR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e d’usage marque « Géo’DAE – Base nationale des défibrillateurs »</a:t>
            </a:r>
          </a:p>
        </p:txBody>
      </p:sp>
      <p:sp>
        <p:nvSpPr>
          <p:cNvPr id="4" name="Rectangle 3"/>
          <p:cNvSpPr/>
          <p:nvPr/>
        </p:nvSpPr>
        <p:spPr>
          <a:xfrm>
            <a:off x="4544685" y="1531561"/>
            <a:ext cx="7481953" cy="22729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Titre 5"/>
          <p:cNvSpPr txBox="1">
            <a:spLocks/>
          </p:cNvSpPr>
          <p:nvPr/>
        </p:nvSpPr>
        <p:spPr>
          <a:xfrm>
            <a:off x="496002" y="1768573"/>
            <a:ext cx="3666675" cy="193104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2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our toute question</a:t>
            </a:r>
          </a:p>
          <a:p>
            <a:pPr algn="ctr"/>
            <a:endParaRPr lang="fr-FR" sz="3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ct@geodae.sante.gouv.fr</a:t>
            </a:r>
            <a:endParaRPr lang="fr-FR" sz="1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re 5"/>
          <p:cNvSpPr txBox="1">
            <a:spLocks/>
          </p:cNvSpPr>
          <p:nvPr/>
        </p:nvSpPr>
        <p:spPr>
          <a:xfrm>
            <a:off x="309585" y="5248790"/>
            <a:ext cx="4041775" cy="424790"/>
          </a:xfrm>
          <a:prstGeom prst="rect">
            <a:avLst/>
          </a:prstGeom>
        </p:spPr>
        <p:txBody>
          <a:bodyPr lIns="36000" rIns="36000"/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éclarer, Localiser, Sauver</a:t>
            </a:r>
            <a:endParaRPr lang="fr-FR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reeform 9"/>
          <p:cNvSpPr>
            <a:spLocks noChangeAspect="1"/>
          </p:cNvSpPr>
          <p:nvPr/>
        </p:nvSpPr>
        <p:spPr bwMode="gray">
          <a:xfrm>
            <a:off x="373736" y="5612588"/>
            <a:ext cx="3911208" cy="121984"/>
          </a:xfrm>
          <a:custGeom>
            <a:avLst/>
            <a:gdLst>
              <a:gd name="T0" fmla="*/ 20 w 1807"/>
              <a:gd name="T1" fmla="*/ 115 h 116"/>
              <a:gd name="T2" fmla="*/ 20 w 1807"/>
              <a:gd name="T3" fmla="*/ 115 h 116"/>
              <a:gd name="T4" fmla="*/ 1398 w 1807"/>
              <a:gd name="T5" fmla="*/ 50 h 116"/>
              <a:gd name="T6" fmla="*/ 1786 w 1807"/>
              <a:gd name="T7" fmla="*/ 32 h 116"/>
              <a:gd name="T8" fmla="*/ 1786 w 1807"/>
              <a:gd name="T9" fmla="*/ 1 h 116"/>
              <a:gd name="T10" fmla="*/ 409 w 1807"/>
              <a:gd name="T11" fmla="*/ 65 h 116"/>
              <a:gd name="T12" fmla="*/ 21 w 1807"/>
              <a:gd name="T13" fmla="*/ 83 h 116"/>
              <a:gd name="T14" fmla="*/ 20 w 1807"/>
              <a:gd name="T15" fmla="*/ 115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07" h="116">
                <a:moveTo>
                  <a:pt x="20" y="115"/>
                </a:moveTo>
                <a:lnTo>
                  <a:pt x="20" y="115"/>
                </a:lnTo>
                <a:cubicBezTo>
                  <a:pt x="479" y="93"/>
                  <a:pt x="938" y="72"/>
                  <a:pt x="1398" y="50"/>
                </a:cubicBezTo>
                <a:cubicBezTo>
                  <a:pt x="1527" y="44"/>
                  <a:pt x="1656" y="38"/>
                  <a:pt x="1786" y="32"/>
                </a:cubicBezTo>
                <a:cubicBezTo>
                  <a:pt x="1806" y="31"/>
                  <a:pt x="1807" y="0"/>
                  <a:pt x="1786" y="1"/>
                </a:cubicBezTo>
                <a:cubicBezTo>
                  <a:pt x="1327" y="22"/>
                  <a:pt x="868" y="44"/>
                  <a:pt x="409" y="65"/>
                </a:cubicBezTo>
                <a:cubicBezTo>
                  <a:pt x="279" y="71"/>
                  <a:pt x="150" y="77"/>
                  <a:pt x="21" y="83"/>
                </a:cubicBezTo>
                <a:cubicBezTo>
                  <a:pt x="0" y="84"/>
                  <a:pt x="0" y="116"/>
                  <a:pt x="20" y="115"/>
                </a:cubicBez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43098" y="1758853"/>
            <a:ext cx="7483539" cy="4410913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915" y="3699615"/>
            <a:ext cx="2931414" cy="1222978"/>
          </a:xfrm>
          <a:prstGeom prst="rect">
            <a:avLst/>
          </a:prstGeom>
        </p:spPr>
      </p:pic>
      <p:sp>
        <p:nvSpPr>
          <p:cNvPr id="15" name="Espace réservé du numéro de diapositive 1"/>
          <p:cNvSpPr>
            <a:spLocks noGrp="1"/>
          </p:cNvSpPr>
          <p:nvPr>
            <p:ph type="sldNum" sz="quarter" idx="12"/>
          </p:nvPr>
        </p:nvSpPr>
        <p:spPr>
          <a:xfrm>
            <a:off x="9863667" y="6509982"/>
            <a:ext cx="1799766" cy="360000"/>
          </a:xfrm>
        </p:spPr>
        <p:txBody>
          <a:bodyPr anchor="ctr"/>
          <a:lstStyle/>
          <a:p>
            <a:pPr algn="r" defTabSz="1219048">
              <a:buClrTx/>
              <a:buSzTx/>
              <a:defRPr/>
            </a:pPr>
            <a:fld id="{733122C9-A0B9-462F-8757-0847AD287B63}" type="slidenum">
              <a:rPr lang="fr-FR" sz="1050">
                <a:solidFill>
                  <a:srgbClr val="FFFFFF"/>
                </a:solidFill>
                <a:latin typeface="Arial"/>
                <a:ea typeface="+mn-ea"/>
                <a:cs typeface="+mn-cs"/>
              </a:rPr>
              <a:pPr algn="r" defTabSz="1219048">
                <a:buClrTx/>
                <a:buSzTx/>
                <a:defRPr/>
              </a:pPr>
              <a:t>5</a:t>
            </a:fld>
            <a:endParaRPr lang="fr-FR" sz="1050" dirty="0">
              <a:solidFill>
                <a:srgbClr val="FFFFFF"/>
              </a:solidFill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0680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OpBmCucEGtJY7EMcGm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OpBmCucEGtJY7EMcGm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OpBmCucEGtJY7EMcGm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qfHVet9UKKoFW1NL9C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gNhAc3ck.ONkytiBi_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OpBmCucEGtJY7EMcGmWA"/>
</p:tagLst>
</file>

<file path=ppt/theme/theme1.xml><?xml version="1.0" encoding="utf-8"?>
<a:theme xmlns:a="http://schemas.openxmlformats.org/drawingml/2006/main" name="DGS_Titre Principal Présentatio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EMPLATE_INTITULE_OFFICIEL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26" id="{25DB2D80-B418-C445-B794-8EFE4AC572D3}" vid="{D7C109EF-1FF6-B140-BAA4-C929A0D91960}"/>
    </a:ext>
  </a:extLst>
</a:theme>
</file>

<file path=ppt/theme/theme3.xml><?xml version="1.0" encoding="utf-8"?>
<a:theme xmlns:a="http://schemas.openxmlformats.org/drawingml/2006/main" name="TEMPLATE_INTITULE_OFFICIEL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26" id="{25DB2D80-B418-C445-B794-8EFE4AC572D3}" vid="{D7C109EF-1FF6-B140-BAA4-C929A0D91960}"/>
    </a:ext>
  </a:extLst>
</a:theme>
</file>

<file path=ppt/theme/theme4.xml><?xml version="1.0" encoding="utf-8"?>
<a:theme xmlns:a="http://schemas.openxmlformats.org/drawingml/2006/main" name="3_DGS_PagesIntérieures_AvecTitres_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TEMPLATE_INTITULE_OFFICIEL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26" id="{25DB2D80-B418-C445-B794-8EFE4AC572D3}" vid="{D7C109EF-1FF6-B140-BAA4-C929A0D91960}"/>
    </a:ext>
  </a:extLst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54CAE375B0284E8EE9BBF3E7A46484" ma:contentTypeVersion="6" ma:contentTypeDescription="Crée un document." ma:contentTypeScope="" ma:versionID="511452b9809657e6815bf4cce2accdc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ed8f41ed40e1d7dd031eefd1d81ec7d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 ma:readOnly="true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CBE17A5-6CC4-4C9E-A34A-042C2751858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8F84BA6-1E2C-4108-A978-70A67FB76E39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7E3377A-D9D7-43A3-A75F-3A9E28DF16E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515</TotalTime>
  <Words>495</Words>
  <Application>Microsoft Office PowerPoint</Application>
  <PresentationFormat>Personnalisé</PresentationFormat>
  <Paragraphs>37</Paragraphs>
  <Slides>5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5</vt:i4>
      </vt:variant>
      <vt:variant>
        <vt:lpstr>Titres des diapositives</vt:lpstr>
      </vt:variant>
      <vt:variant>
        <vt:i4>5</vt:i4>
      </vt:variant>
    </vt:vector>
  </HeadingPairs>
  <TitlesOfParts>
    <vt:vector size="17" baseType="lpstr">
      <vt:lpstr>Arial</vt:lpstr>
      <vt:lpstr>Arial Narrow</vt:lpstr>
      <vt:lpstr>Calibri</vt:lpstr>
      <vt:lpstr>Cambria</vt:lpstr>
      <vt:lpstr>Candara</vt:lpstr>
      <vt:lpstr>Helvetica Neue</vt:lpstr>
      <vt:lpstr>Wingdings</vt:lpstr>
      <vt:lpstr>DGS_Titre Principal Présentation</vt:lpstr>
      <vt:lpstr>2_TEMPLATE_INTITULE_OFFICIEL</vt:lpstr>
      <vt:lpstr>TEMPLATE_INTITULE_OFFICIEL</vt:lpstr>
      <vt:lpstr>3_DGS_PagesIntérieures_AvecTitres_1</vt:lpstr>
      <vt:lpstr>1_TEMPLATE_INTITULE_OFFICIEL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PPT/D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SOMA, Julie (DGS/MICOM)</dc:creator>
  <cp:lastModifiedBy>SAKHO, Moussa (DGS/SG/DAD)</cp:lastModifiedBy>
  <cp:revision>2112</cp:revision>
  <cp:lastPrinted>2018-10-12T12:22:23Z</cp:lastPrinted>
  <dcterms:created xsi:type="dcterms:W3CDTF">2018-09-17T13:21:29Z</dcterms:created>
  <dcterms:modified xsi:type="dcterms:W3CDTF">2022-12-16T15:53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954CAE375B0284E8EE9BBF3E7A46484</vt:lpwstr>
  </property>
</Properties>
</file>